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14" r:id="rId1"/>
    <p:sldMasterId id="2147483727" r:id="rId2"/>
    <p:sldMasterId id="2147483731" r:id="rId3"/>
    <p:sldMasterId id="2147483831" r:id="rId4"/>
    <p:sldMasterId id="2147483842" r:id="rId5"/>
    <p:sldMasterId id="2147483870" r:id="rId6"/>
    <p:sldMasterId id="2147483878" r:id="rId7"/>
    <p:sldMasterId id="2147483894" r:id="rId8"/>
  </p:sldMasterIdLst>
  <p:notesMasterIdLst>
    <p:notesMasterId r:id="rId39"/>
  </p:notesMasterIdLst>
  <p:handoutMasterIdLst>
    <p:handoutMasterId r:id="rId40"/>
  </p:handoutMasterIdLst>
  <p:sldIdLst>
    <p:sldId id="2145707223" r:id="rId9"/>
    <p:sldId id="7971" r:id="rId10"/>
    <p:sldId id="2147376252" r:id="rId11"/>
    <p:sldId id="2145707222" r:id="rId12"/>
    <p:sldId id="2147376251" r:id="rId13"/>
    <p:sldId id="2147376267" r:id="rId14"/>
    <p:sldId id="2147376268" r:id="rId15"/>
    <p:sldId id="2147376276" r:id="rId16"/>
    <p:sldId id="2147376258" r:id="rId17"/>
    <p:sldId id="2147376263" r:id="rId18"/>
    <p:sldId id="2147376253" r:id="rId19"/>
    <p:sldId id="2147376269" r:id="rId20"/>
    <p:sldId id="2147376272" r:id="rId21"/>
    <p:sldId id="2145707234" r:id="rId22"/>
    <p:sldId id="2147376257" r:id="rId23"/>
    <p:sldId id="2147376259" r:id="rId24"/>
    <p:sldId id="2147376260" r:id="rId25"/>
    <p:sldId id="2147376265" r:id="rId26"/>
    <p:sldId id="2147376262" r:id="rId27"/>
    <p:sldId id="2147376261" r:id="rId28"/>
    <p:sldId id="2145707236" r:id="rId29"/>
    <p:sldId id="2147376273" r:id="rId30"/>
    <p:sldId id="2147376274" r:id="rId31"/>
    <p:sldId id="2147376278" r:id="rId32"/>
    <p:sldId id="2147376279" r:id="rId33"/>
    <p:sldId id="2147376280" r:id="rId34"/>
    <p:sldId id="2147376281" r:id="rId35"/>
    <p:sldId id="2147376282" r:id="rId36"/>
    <p:sldId id="2147376284" r:id="rId37"/>
    <p:sldId id="2145707233" r:id="rId38"/>
  </p:sldIdLst>
  <p:sldSz cx="12192000" cy="6858000"/>
  <p:notesSz cx="6858000" cy="9144000"/>
  <p:embeddedFontLst>
    <p:embeddedFont>
      <p:font typeface="Arial Narrow" panose="020B0606020202030204" pitchFamily="34" charset="0"/>
      <p:regular r:id="rId41"/>
      <p:bold r:id="rId42"/>
      <p:italic r:id="rId43"/>
      <p:boldItalic r:id="rId44"/>
    </p:embeddedFon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Calibri Light" panose="020F0302020204030204" pitchFamily="34" charset="0"/>
      <p:regular r:id="rId49"/>
      <p:italic r:id="rId50"/>
    </p:embeddedFont>
    <p:embeddedFont>
      <p:font typeface="Century Gothic" panose="020B0502020202020204" pitchFamily="34" charset="0"/>
      <p:regular r:id="rId51"/>
      <p:bold r:id="rId52"/>
      <p:italic r:id="rId53"/>
      <p:boldItalic r:id="rId54"/>
    </p:embeddedFont>
    <p:embeddedFont>
      <p:font typeface="Helvetica" panose="020B0604020202020204" pitchFamily="34" charset="0"/>
      <p:regular r:id="rId55"/>
      <p:bold r:id="rId56"/>
      <p:italic r:id="rId57"/>
      <p:boldItalic r:id="rId58"/>
    </p:embeddedFont>
    <p:embeddedFont>
      <p:font typeface="Raleway" pitchFamily="2" charset="0"/>
      <p:regular r:id="rId59"/>
      <p:bold r:id="rId60"/>
      <p:italic r:id="rId61"/>
      <p:boldItalic r:id="rId62"/>
    </p:embeddedFont>
    <p:embeddedFont>
      <p:font typeface="Verdana" panose="020B0604030504040204" pitchFamily="34" charset="0"/>
      <p:regular r:id="rId63"/>
      <p:bold r:id="rId64"/>
      <p:italic r:id="rId65"/>
      <p:boldItalic r:id="rId6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24" userDrawn="1">
          <p15:clr>
            <a:srgbClr val="A4A3A4"/>
          </p15:clr>
        </p15:guide>
        <p15:guide id="2" pos="1248" userDrawn="1">
          <p15:clr>
            <a:srgbClr val="A4A3A4"/>
          </p15:clr>
        </p15:guide>
        <p15:guide id="3" orient="horz" pos="3912" userDrawn="1">
          <p15:clr>
            <a:srgbClr val="A4A3A4"/>
          </p15:clr>
        </p15:guide>
        <p15:guide id="4" pos="6872" userDrawn="1">
          <p15:clr>
            <a:srgbClr val="A4A3A4"/>
          </p15:clr>
        </p15:guide>
        <p15:guide id="5" orient="horz" pos="840" userDrawn="1">
          <p15:clr>
            <a:srgbClr val="A4A3A4"/>
          </p15:clr>
        </p15:guide>
        <p15:guide id="6" orient="horz" pos="26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nathan Morgan" initials="JM" lastIdx="10" clrIdx="0"/>
  <p:cmAuthor id="2" name="Jeff Stumpf" initials="JS" lastIdx="5" clrIdx="1"/>
  <p:cmAuthor id="3" name="Allan Tenorio" initials="AT" lastIdx="2" clrIdx="2"/>
  <p:cmAuthor id="4" name="Boris" initials="B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F"/>
    <a:srgbClr val="002D72"/>
    <a:srgbClr val="071D49"/>
    <a:srgbClr val="FFFFFF"/>
    <a:srgbClr val="E40046"/>
    <a:srgbClr val="44546A"/>
    <a:srgbClr val="FF6600"/>
    <a:srgbClr val="D0D3D3"/>
    <a:srgbClr val="828D15"/>
    <a:srgbClr val="EB18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Estilo clar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29" autoAdjust="0"/>
  </p:normalViewPr>
  <p:slideViewPr>
    <p:cSldViewPr snapToGrid="0">
      <p:cViewPr varScale="1">
        <p:scale>
          <a:sx n="62" d="100"/>
          <a:sy n="62" d="100"/>
        </p:scale>
        <p:origin x="828" y="44"/>
      </p:cViewPr>
      <p:guideLst>
        <p:guide orient="horz" pos="1224"/>
        <p:guide pos="1248"/>
        <p:guide orient="horz" pos="3912"/>
        <p:guide pos="6872"/>
        <p:guide orient="horz" pos="840"/>
        <p:guide orient="horz" pos="2640"/>
      </p:guideLst>
    </p:cSldViewPr>
  </p:slideViewPr>
  <p:outlineViewPr>
    <p:cViewPr>
      <p:scale>
        <a:sx n="33" d="100"/>
        <a:sy n="33" d="100"/>
      </p:scale>
      <p:origin x="0" y="-639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02" d="100"/>
          <a:sy n="102" d="100"/>
        </p:scale>
        <p:origin x="259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font" Target="fonts/font10.fntdata"/><Relationship Id="rId55" Type="http://schemas.openxmlformats.org/officeDocument/2006/relationships/font" Target="fonts/font15.fntdata"/><Relationship Id="rId63" Type="http://schemas.openxmlformats.org/officeDocument/2006/relationships/font" Target="fonts/font23.fntdata"/><Relationship Id="rId68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handoutMaster" Target="handoutMasters/handoutMaster1.xml"/><Relationship Id="rId45" Type="http://schemas.openxmlformats.org/officeDocument/2006/relationships/font" Target="fonts/font5.fntdata"/><Relationship Id="rId53" Type="http://schemas.openxmlformats.org/officeDocument/2006/relationships/font" Target="fonts/font13.fntdata"/><Relationship Id="rId58" Type="http://schemas.openxmlformats.org/officeDocument/2006/relationships/font" Target="fonts/font18.fntdata"/><Relationship Id="rId66" Type="http://schemas.openxmlformats.org/officeDocument/2006/relationships/font" Target="fonts/font26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9.fntdata"/><Relationship Id="rId57" Type="http://schemas.openxmlformats.org/officeDocument/2006/relationships/font" Target="fonts/font17.fntdata"/><Relationship Id="rId61" Type="http://schemas.openxmlformats.org/officeDocument/2006/relationships/font" Target="fonts/font21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4.fntdata"/><Relationship Id="rId52" Type="http://schemas.openxmlformats.org/officeDocument/2006/relationships/font" Target="fonts/font12.fntdata"/><Relationship Id="rId60" Type="http://schemas.openxmlformats.org/officeDocument/2006/relationships/font" Target="fonts/font20.fntdata"/><Relationship Id="rId65" Type="http://schemas.openxmlformats.org/officeDocument/2006/relationships/font" Target="fonts/font25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font" Target="fonts/font16.fntdata"/><Relationship Id="rId64" Type="http://schemas.openxmlformats.org/officeDocument/2006/relationships/font" Target="fonts/font24.fntdata"/><Relationship Id="rId69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11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6.fntdata"/><Relationship Id="rId59" Type="http://schemas.openxmlformats.org/officeDocument/2006/relationships/font" Target="fonts/font19.fntdata"/><Relationship Id="rId67" Type="http://schemas.openxmlformats.org/officeDocument/2006/relationships/commentAuthors" Target="commentAuthors.xml"/><Relationship Id="rId20" Type="http://schemas.openxmlformats.org/officeDocument/2006/relationships/slide" Target="slides/slide12.xml"/><Relationship Id="rId41" Type="http://schemas.openxmlformats.org/officeDocument/2006/relationships/font" Target="fonts/font1.fntdata"/><Relationship Id="rId54" Type="http://schemas.openxmlformats.org/officeDocument/2006/relationships/font" Target="fonts/font14.fntdata"/><Relationship Id="rId62" Type="http://schemas.openxmlformats.org/officeDocument/2006/relationships/font" Target="fonts/font22.fntdata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238794014384563"/>
          <c:y val="0.11751872248559429"/>
          <c:w val="0.57279033302655358"/>
          <c:h val="0.6599967511703397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TG + TDF/FTC (N=358)</c:v>
                </c:pt>
              </c:strCache>
            </c:strRef>
          </c:tx>
          <c:spPr>
            <a:solidFill>
              <a:srgbClr val="F84D0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2.90377440370878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0F5-4970-82DC-E85E79D32D31}"/>
                </c:ext>
              </c:extLst>
            </c:dLbl>
            <c:dLbl>
              <c:idx val="1"/>
              <c:layout>
                <c:manualLayout>
                  <c:x val="2.3474178403755869E-3"/>
                  <c:y val="2.90377440370878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F5-4970-82DC-E85E79D32D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&gt;500,000 c/mL</c:v>
                </c:pt>
                <c:pt idx="1">
                  <c:v>&gt;400,000 c/mL</c:v>
                </c:pt>
                <c:pt idx="2">
                  <c:v>&gt;250,000 c/mL</c:v>
                </c:pt>
                <c:pt idx="3">
                  <c:v>&gt;100,000 c/mL</c:v>
                </c:pt>
                <c:pt idx="4">
                  <c:v>≤100,000 c/mL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80</c:v>
                </c:pt>
                <c:pt idx="1">
                  <c:v>83</c:v>
                </c:pt>
                <c:pt idx="2">
                  <c:v>89</c:v>
                </c:pt>
                <c:pt idx="3">
                  <c:v>90</c:v>
                </c:pt>
                <c:pt idx="4">
                  <c:v>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F5-4970-82DC-E85E79D32D3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TG + 3TC (N=356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cap="all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A0F5-4970-82DC-E85E79D32D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&gt;500,000 c/mL</c:v>
                </c:pt>
                <c:pt idx="1">
                  <c:v>&gt;400,000 c/mL</c:v>
                </c:pt>
                <c:pt idx="2">
                  <c:v>&gt;250,000 c/mL</c:v>
                </c:pt>
                <c:pt idx="3">
                  <c:v>&gt;100,000 c/mL</c:v>
                </c:pt>
                <c:pt idx="4">
                  <c:v>≤100,000 c/mL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85</c:v>
                </c:pt>
                <c:pt idx="1">
                  <c:v>89</c:v>
                </c:pt>
                <c:pt idx="2">
                  <c:v>88</c:v>
                </c:pt>
                <c:pt idx="3">
                  <c:v>92</c:v>
                </c:pt>
                <c:pt idx="4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F5-4970-82DC-E85E79D32D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axId val="139986432"/>
        <c:axId val="141017856"/>
      </c:barChart>
      <c:catAx>
        <c:axId val="1399864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Baseline VL strata</a:t>
                </a:r>
              </a:p>
            </c:rich>
          </c:tx>
          <c:layout>
            <c:manualLayout>
              <c:xMode val="edge"/>
              <c:yMode val="edge"/>
              <c:x val="0"/>
              <c:y val="0.257813553904341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41017856"/>
        <c:crosses val="autoZero"/>
        <c:auto val="1"/>
        <c:lblAlgn val="ctr"/>
        <c:lblOffset val="100"/>
        <c:noMultiLvlLbl val="0"/>
      </c:catAx>
      <c:valAx>
        <c:axId val="141017856"/>
        <c:scaling>
          <c:orientation val="minMax"/>
          <c:max val="10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defRPr>
                </a:pPr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HIV-1 RNA &lt;50 c/mL, %</a:t>
                </a:r>
              </a:p>
            </c:rich>
          </c:tx>
          <c:layout>
            <c:manualLayout>
              <c:xMode val="edge"/>
              <c:yMode val="edge"/>
              <c:x val="0.41553879708698382"/>
              <c:y val="0.88683579590169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defRPr>
              </a:pPr>
              <a:endParaRPr lang="es-E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139986432"/>
        <c:crosses val="autoZero"/>
        <c:crossBetween val="between"/>
        <c:majorUnit val="20"/>
      </c:valAx>
      <c:spPr>
        <a:noFill/>
        <a:ln w="25384"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799"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518881568375384"/>
          <c:y val="0"/>
          <c:w val="0.68697653864695485"/>
          <c:h val="0.9110222531293462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>
              <a:noFill/>
            </a:ln>
          </c:spPr>
          <c:marker>
            <c:symbol val="diamond"/>
            <c:size val="8"/>
            <c:spPr>
              <a:solidFill>
                <a:schemeClr val="tx1"/>
              </a:solidFill>
              <a:ln>
                <a:noFill/>
              </a:ln>
            </c:spPr>
          </c:marker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0-E7C9-41BE-B7B4-605FAEAA3D6B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1-E7C9-41BE-B7B4-605FAEAA3D6B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2-E7C9-41BE-B7B4-605FAEAA3D6B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3-E7C9-41BE-B7B4-605FAEAA3D6B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4-E7C9-41BE-B7B4-605FAEAA3D6B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5-E7C9-41BE-B7B4-605FAEAA3D6B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6-E7C9-41BE-B7B4-605FAEAA3D6B}"/>
              </c:ext>
            </c:extLst>
          </c:dPt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7-E7C9-41BE-B7B4-605FAEAA3D6B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8-E7C9-41BE-B7B4-605FAEAA3D6B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9-E7C9-41BE-B7B4-605FAEAA3D6B}"/>
              </c:ext>
            </c:extLst>
          </c:dPt>
          <c:dPt>
            <c:idx val="21"/>
            <c:bubble3D val="0"/>
            <c:extLst>
              <c:ext xmlns:c16="http://schemas.microsoft.com/office/drawing/2014/chart" uri="{C3380CC4-5D6E-409C-BE32-E72D297353CC}">
                <c16:uniqueId val="{0000000A-E7C9-41BE-B7B4-605FAEAA3D6B}"/>
              </c:ext>
            </c:extLst>
          </c:dPt>
          <c:dPt>
            <c:idx val="23"/>
            <c:bubble3D val="0"/>
            <c:extLst>
              <c:ext xmlns:c16="http://schemas.microsoft.com/office/drawing/2014/chart" uri="{C3380CC4-5D6E-409C-BE32-E72D297353CC}">
                <c16:uniqueId val="{0000000B-E7C9-41BE-B7B4-605FAEAA3D6B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0C-E7C9-41BE-B7B4-605FAEAA3D6B}"/>
              </c:ext>
            </c:extLst>
          </c:dPt>
          <c:dPt>
            <c:idx val="27"/>
            <c:bubble3D val="0"/>
            <c:extLst>
              <c:ext xmlns:c16="http://schemas.microsoft.com/office/drawing/2014/chart" uri="{C3380CC4-5D6E-409C-BE32-E72D297353CC}">
                <c16:uniqueId val="{0000000D-E7C9-41BE-B7B4-605FAEAA3D6B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0E-E7C9-41BE-B7B4-605FAEAA3D6B}"/>
              </c:ext>
            </c:extLst>
          </c:dPt>
          <c:dPt>
            <c:idx val="31"/>
            <c:bubble3D val="0"/>
            <c:extLst>
              <c:ext xmlns:c16="http://schemas.microsoft.com/office/drawing/2014/chart" uri="{C3380CC4-5D6E-409C-BE32-E72D297353CC}">
                <c16:uniqueId val="{0000000F-E7C9-41BE-B7B4-605FAEAA3D6B}"/>
              </c:ext>
            </c:extLst>
          </c:dPt>
          <c:dPt>
            <c:idx val="33"/>
            <c:bubble3D val="0"/>
            <c:extLst>
              <c:ext xmlns:c16="http://schemas.microsoft.com/office/drawing/2014/chart" uri="{C3380CC4-5D6E-409C-BE32-E72D297353CC}">
                <c16:uniqueId val="{00000010-E7C9-41BE-B7B4-605FAEAA3D6B}"/>
              </c:ext>
            </c:extLst>
          </c:dPt>
          <c:dPt>
            <c:idx val="35"/>
            <c:bubble3D val="0"/>
            <c:extLst>
              <c:ext xmlns:c16="http://schemas.microsoft.com/office/drawing/2014/chart" uri="{C3380CC4-5D6E-409C-BE32-E72D297353CC}">
                <c16:uniqueId val="{00000011-E7C9-41BE-B7B4-605FAEAA3D6B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12-E7C9-41BE-B7B4-605FAEAA3D6B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13-E7C9-41BE-B7B4-605FAEAA3D6B}"/>
              </c:ext>
            </c:extLst>
          </c:dPt>
          <c:dPt>
            <c:idx val="41"/>
            <c:bubble3D val="0"/>
            <c:extLst>
              <c:ext xmlns:c16="http://schemas.microsoft.com/office/drawing/2014/chart" uri="{C3380CC4-5D6E-409C-BE32-E72D297353CC}">
                <c16:uniqueId val="{00000014-E7C9-41BE-B7B4-605FAEAA3D6B}"/>
              </c:ext>
            </c:extLst>
          </c:dPt>
          <c:dPt>
            <c:idx val="43"/>
            <c:bubble3D val="0"/>
            <c:extLst>
              <c:ext xmlns:c16="http://schemas.microsoft.com/office/drawing/2014/chart" uri="{C3380CC4-5D6E-409C-BE32-E72D297353CC}">
                <c16:uniqueId val="{00000015-E7C9-41BE-B7B4-605FAEAA3D6B}"/>
              </c:ext>
            </c:extLst>
          </c:dPt>
          <c:dPt>
            <c:idx val="45"/>
            <c:bubble3D val="0"/>
            <c:extLst>
              <c:ext xmlns:c16="http://schemas.microsoft.com/office/drawing/2014/chart" uri="{C3380CC4-5D6E-409C-BE32-E72D297353CC}">
                <c16:uniqueId val="{00000016-E7C9-41BE-B7B4-605FAEAA3D6B}"/>
              </c:ext>
            </c:extLst>
          </c:dPt>
          <c:dPt>
            <c:idx val="47"/>
            <c:bubble3D val="0"/>
            <c:extLst>
              <c:ext xmlns:c16="http://schemas.microsoft.com/office/drawing/2014/chart" uri="{C3380CC4-5D6E-409C-BE32-E72D297353CC}">
                <c16:uniqueId val="{00000017-E7C9-41BE-B7B4-605FAEAA3D6B}"/>
              </c:ext>
            </c:extLst>
          </c:dPt>
          <c:dPt>
            <c:idx val="49"/>
            <c:bubble3D val="0"/>
            <c:extLst>
              <c:ext xmlns:c16="http://schemas.microsoft.com/office/drawing/2014/chart" uri="{C3380CC4-5D6E-409C-BE32-E72D297353CC}">
                <c16:uniqueId val="{00000018-E7C9-41BE-B7B4-605FAEAA3D6B}"/>
              </c:ext>
            </c:extLst>
          </c:dPt>
          <c:dPt>
            <c:idx val="51"/>
            <c:bubble3D val="0"/>
            <c:extLst>
              <c:ext xmlns:c16="http://schemas.microsoft.com/office/drawing/2014/chart" uri="{C3380CC4-5D6E-409C-BE32-E72D297353CC}">
                <c16:uniqueId val="{00000019-E7C9-41BE-B7B4-605FAEAA3D6B}"/>
              </c:ext>
            </c:extLst>
          </c:dPt>
          <c:dPt>
            <c:idx val="53"/>
            <c:bubble3D val="0"/>
            <c:extLst>
              <c:ext xmlns:c16="http://schemas.microsoft.com/office/drawing/2014/chart" uri="{C3380CC4-5D6E-409C-BE32-E72D297353CC}">
                <c16:uniqueId val="{0000001A-E7C9-41BE-B7B4-605FAEAA3D6B}"/>
              </c:ext>
            </c:extLst>
          </c:dPt>
          <c:dPt>
            <c:idx val="55"/>
            <c:bubble3D val="0"/>
            <c:extLst>
              <c:ext xmlns:c16="http://schemas.microsoft.com/office/drawing/2014/chart" uri="{C3380CC4-5D6E-409C-BE32-E72D297353CC}">
                <c16:uniqueId val="{0000001B-E7C9-41BE-B7B4-605FAEAA3D6B}"/>
              </c:ext>
            </c:extLst>
          </c:dPt>
          <c:dPt>
            <c:idx val="57"/>
            <c:bubble3D val="0"/>
            <c:extLst>
              <c:ext xmlns:c16="http://schemas.microsoft.com/office/drawing/2014/chart" uri="{C3380CC4-5D6E-409C-BE32-E72D297353CC}">
                <c16:uniqueId val="{0000001C-E7C9-41BE-B7B4-605FAEAA3D6B}"/>
              </c:ext>
            </c:extLst>
          </c:dPt>
          <c:dPt>
            <c:idx val="59"/>
            <c:bubble3D val="0"/>
            <c:extLst>
              <c:ext xmlns:c16="http://schemas.microsoft.com/office/drawing/2014/chart" uri="{C3380CC4-5D6E-409C-BE32-E72D297353CC}">
                <c16:uniqueId val="{0000001D-E7C9-41BE-B7B4-605FAEAA3D6B}"/>
              </c:ext>
            </c:extLst>
          </c:dPt>
          <c:dPt>
            <c:idx val="61"/>
            <c:bubble3D val="0"/>
            <c:extLst>
              <c:ext xmlns:c16="http://schemas.microsoft.com/office/drawing/2014/chart" uri="{C3380CC4-5D6E-409C-BE32-E72D297353CC}">
                <c16:uniqueId val="{0000001E-E7C9-41BE-B7B4-605FAEAA3D6B}"/>
              </c:ext>
            </c:extLst>
          </c:dPt>
          <c:dPt>
            <c:idx val="63"/>
            <c:bubble3D val="0"/>
            <c:extLst>
              <c:ext xmlns:c16="http://schemas.microsoft.com/office/drawing/2014/chart" uri="{C3380CC4-5D6E-409C-BE32-E72D297353CC}">
                <c16:uniqueId val="{0000001F-E7C9-41BE-B7B4-605FAEAA3D6B}"/>
              </c:ext>
            </c:extLst>
          </c:dPt>
          <c:dPt>
            <c:idx val="65"/>
            <c:bubble3D val="0"/>
            <c:extLst>
              <c:ext xmlns:c16="http://schemas.microsoft.com/office/drawing/2014/chart" uri="{C3380CC4-5D6E-409C-BE32-E72D297353CC}">
                <c16:uniqueId val="{00000020-E7C9-41BE-B7B4-605FAEAA3D6B}"/>
              </c:ext>
            </c:extLst>
          </c:dPt>
          <c:dLbls>
            <c:dLbl>
              <c:idx val="0"/>
              <c:layout>
                <c:manualLayout>
                  <c:x val="-1.3893352616637268E-2"/>
                  <c:y val="3.2794296771714866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E7C9-41BE-B7B4-605FAEAA3D6B}"/>
                </c:ext>
              </c:extLst>
            </c:dLbl>
            <c:dLbl>
              <c:idx val="1"/>
              <c:layout>
                <c:manualLayout>
                  <c:x val="-5.4833452636602296E-2"/>
                  <c:y val="3.8071937436391881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C9-41BE-B7B4-605FAEAA3D6B}"/>
                </c:ext>
              </c:extLst>
            </c:dLbl>
            <c:dLbl>
              <c:idx val="2"/>
              <c:layout>
                <c:manualLayout>
                  <c:x val="-0.10498580534576035"/>
                  <c:y val="-4.647852082151839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E7C9-41BE-B7B4-605FAEAA3D6B}"/>
                </c:ext>
              </c:extLst>
            </c:dLbl>
            <c:dLbl>
              <c:idx val="3"/>
              <c:layout>
                <c:manualLayout>
                  <c:x val="-2.3183084257324977E-2"/>
                  <c:y val="-5.0139393349863545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C9-41BE-B7B4-605FAEAA3D6B}"/>
                </c:ext>
              </c:extLst>
            </c:dLbl>
            <c:dLbl>
              <c:idx val="4"/>
              <c:layout>
                <c:manualLayout>
                  <c:x val="-9.5366499642090194E-2"/>
                  <c:y val="3.8842466120306389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E7C9-41BE-B7B4-605FAEAA3D6B}"/>
                </c:ext>
              </c:extLst>
            </c:dLbl>
            <c:dLbl>
              <c:idx val="5"/>
              <c:layout>
                <c:manualLayout>
                  <c:x val="-9.917683929202576E-3"/>
                  <c:y val="1.2403449564413381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C9-41BE-B7B4-605FAEAA3D6B}"/>
                </c:ext>
              </c:extLst>
            </c:dLbl>
            <c:dLbl>
              <c:idx val="6"/>
              <c:layout>
                <c:manualLayout>
                  <c:x val="-5.5779236863102648E-2"/>
                  <c:y val="1.4262334985497034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E7C9-41BE-B7B4-605FAEAA3D6B}"/>
                </c:ext>
              </c:extLst>
            </c:dLbl>
            <c:dLbl>
              <c:idx val="7"/>
              <c:layout>
                <c:manualLayout>
                  <c:x val="-5.7863852905552654E-2"/>
                  <c:y val="1.6121220406580622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C9-41BE-B7B4-605FAEAA3D6B}"/>
                </c:ext>
              </c:extLst>
            </c:dLbl>
            <c:dLbl>
              <c:idx val="8"/>
              <c:layout>
                <c:manualLayout>
                  <c:x val="-4.3271540608402576E-2"/>
                  <c:y val="1.7980105827664343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E7C9-41BE-B7B4-605FAEAA3D6B}"/>
                </c:ext>
              </c:extLst>
            </c:dLbl>
            <c:dLbl>
              <c:idx val="9"/>
              <c:layout>
                <c:manualLayout>
                  <c:x val="-4.9525388735752671E-2"/>
                  <c:y val="1.4262334985497034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C9-41BE-B7B4-605FAEAA3D6B}"/>
                </c:ext>
              </c:extLst>
            </c:dLbl>
            <c:dLbl>
              <c:idx val="10"/>
              <c:layout>
                <c:manualLayout>
                  <c:x val="-3.4933076438602599E-2"/>
                  <c:y val="1.983899124874799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E7C9-41BE-B7B4-605FAEAA3D6B}"/>
                </c:ext>
              </c:extLst>
            </c:dLbl>
            <c:dLbl>
              <c:idx val="11"/>
              <c:layout>
                <c:manualLayout>
                  <c:x val="-4.9525388735752671E-2"/>
                  <c:y val="1.7980105827664343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C9-41BE-B7B4-605FAEAA3D6B}"/>
                </c:ext>
              </c:extLst>
            </c:dLbl>
            <c:dLbl>
              <c:idx val="12"/>
              <c:layout>
                <c:manualLayout>
                  <c:x val="-4.9525388735752629E-2"/>
                  <c:y val="1.4262334985497034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E7C9-41BE-B7B4-605FAEAA3D6B}"/>
                </c:ext>
              </c:extLst>
            </c:dLbl>
            <c:dLbl>
              <c:idx val="13"/>
              <c:layout>
                <c:manualLayout>
                  <c:x val="-4.9525388735752594E-2"/>
                  <c:y val="-1.5479904936306863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4829585921389623E-2"/>
                      <c:h val="2.480689912882675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E7C9-41BE-B7B4-605FAEAA3D6B}"/>
                </c:ext>
              </c:extLst>
            </c:dLbl>
            <c:dLbl>
              <c:idx val="14"/>
              <c:layout>
                <c:manualLayout>
                  <c:x val="-1.2002299971652504E-2"/>
                  <c:y val="1.4262334985497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E7C9-41BE-B7B4-605FAEAA3D6B}"/>
                </c:ext>
              </c:extLst>
            </c:dLbl>
            <c:dLbl>
              <c:idx val="15"/>
              <c:layout>
                <c:manualLayout>
                  <c:x val="-5.1610004778202601E-2"/>
                  <c:y val="1.798010582766430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7C9-41BE-B7B4-605FAEAA3D6B}"/>
                </c:ext>
              </c:extLst>
            </c:dLbl>
            <c:dLbl>
              <c:idx val="16"/>
              <c:layout>
                <c:manualLayout>
                  <c:x val="-3.4933076438602557E-2"/>
                  <c:y val="2.169787666983165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E7C9-41BE-B7B4-605FAEAA3D6B}"/>
                </c:ext>
              </c:extLst>
            </c:dLbl>
            <c:dLbl>
              <c:idx val="17"/>
              <c:layout>
                <c:manualLayout>
                  <c:x val="-3.4922571286892572E-2"/>
                  <c:y val="1.6121220406580671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7C9-41BE-B7B4-605FAEAA3D6B}"/>
                </c:ext>
              </c:extLst>
            </c:dLbl>
            <c:dLbl>
              <c:idx val="18"/>
              <c:layout>
                <c:manualLayout>
                  <c:x val="-3.910230852350257E-2"/>
                  <c:y val="1.798010582766434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E7C9-41BE-B7B4-605FAEAA3D6B}"/>
                </c:ext>
              </c:extLst>
            </c:dLbl>
            <c:dLbl>
              <c:idx val="19"/>
              <c:layout>
                <c:manualLayout>
                  <c:x val="-5.9937963796292675E-2"/>
                  <c:y val="1.798010582766434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7C9-41BE-B7B4-605FAEAA3D6B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b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errBars>
            <c:errDir val="x"/>
            <c:errBarType val="both"/>
            <c:errValType val="cust"/>
            <c:noEndCap val="0"/>
            <c:plus>
              <c:numRef>
                <c:f>Sheet1!$F$2:$F$6</c:f>
                <c:numCache>
                  <c:formatCode>General</c:formatCode>
                  <c:ptCount val="5"/>
                  <c:pt idx="0">
                    <c:v>28.199999999999996</c:v>
                  </c:pt>
                  <c:pt idx="1">
                    <c:v>20.799999999999997</c:v>
                  </c:pt>
                  <c:pt idx="2">
                    <c:v>12.6</c:v>
                  </c:pt>
                  <c:pt idx="3">
                    <c:v>6.5</c:v>
                  </c:pt>
                  <c:pt idx="4">
                    <c:v>3</c:v>
                  </c:pt>
                </c:numCache>
              </c:numRef>
            </c:plus>
            <c:minus>
              <c:numRef>
                <c:f>Sheet1!$E$2:$E$6</c:f>
                <c:numCache>
                  <c:formatCode>General</c:formatCode>
                  <c:ptCount val="5"/>
                  <c:pt idx="0">
                    <c:v>28.200000000000003</c:v>
                  </c:pt>
                  <c:pt idx="1">
                    <c:v>20.9</c:v>
                  </c:pt>
                  <c:pt idx="2">
                    <c:v>12.6</c:v>
                  </c:pt>
                  <c:pt idx="3">
                    <c:v>6.4</c:v>
                  </c:pt>
                  <c:pt idx="4">
                    <c:v>3</c:v>
                  </c:pt>
                </c:numCache>
              </c:numRef>
            </c:minus>
            <c:spPr>
              <a:ln w="15875"/>
            </c:spPr>
          </c:errBars>
          <c:xVal>
            <c:numRef>
              <c:f>Sheet1!$A$2:$A$6</c:f>
              <c:numCache>
                <c:formatCode>General</c:formatCode>
                <c:ptCount val="5"/>
                <c:pt idx="0">
                  <c:v>4.5999999999999996</c:v>
                </c:pt>
                <c:pt idx="1">
                  <c:v>5.6</c:v>
                </c:pt>
                <c:pt idx="2">
                  <c:v>-0.9</c:v>
                </c:pt>
                <c:pt idx="3">
                  <c:v>1.9</c:v>
                </c:pt>
                <c:pt idx="4">
                  <c:v>-2.8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0.5</c:v>
                </c:pt>
                <c:pt idx="1">
                  <c:v>1.6</c:v>
                </c:pt>
                <c:pt idx="2">
                  <c:v>2.4</c:v>
                </c:pt>
                <c:pt idx="3">
                  <c:v>3.5</c:v>
                </c:pt>
                <c:pt idx="4">
                  <c:v>4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2B-E7C9-41BE-B7B4-605FAEAA3D6B}"/>
            </c:ext>
          </c:extLst>
        </c:ser>
        <c:dLbls>
          <c:dLblPos val="b"/>
          <c:showLegendKey val="0"/>
          <c:showVal val="1"/>
          <c:showCatName val="0"/>
          <c:showSerName val="0"/>
          <c:showPercent val="0"/>
          <c:showBubbleSize val="0"/>
        </c:dLbls>
        <c:axId val="34426880"/>
        <c:axId val="34428416"/>
      </c:scatterChart>
      <c:valAx>
        <c:axId val="34426880"/>
        <c:scaling>
          <c:orientation val="minMax"/>
          <c:max val="40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sz="1400" b="1" baseline="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34428416"/>
        <c:crosses val="autoZero"/>
        <c:crossBetween val="midCat"/>
        <c:majorUnit val="10"/>
      </c:valAx>
      <c:valAx>
        <c:axId val="34428416"/>
        <c:scaling>
          <c:orientation val="minMax"/>
          <c:max val="5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9050">
            <a:solidFill>
              <a:schemeClr val="tx1"/>
            </a:solidFill>
          </a:ln>
        </c:spPr>
        <c:crossAx val="34426880"/>
        <c:crosses val="autoZero"/>
        <c:crossBetween val="midCat"/>
        <c:majorUnit val="1"/>
      </c:valAx>
      <c:spPr>
        <a:noFill/>
        <a:ln w="127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en-US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468834363490601"/>
          <c:y val="8.52547058089419E-2"/>
          <c:w val="0.84596762403937897"/>
          <c:h val="0.87887729995088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TG + 3TC (N=716)</c:v>
                </c:pt>
              </c:strCache>
            </c:strRef>
          </c:tx>
          <c:spPr>
            <a:solidFill>
              <a:srgbClr val="002F5F"/>
            </a:solidFill>
            <a:ln w="635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B$2:$B$3</c:f>
              <c:numCache>
                <c:formatCode>0</c:formatCode>
                <c:ptCount val="2"/>
                <c:pt idx="0">
                  <c:v>98</c:v>
                </c:pt>
                <c:pt idx="1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92-4AD8-B316-A8C474BFCB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TG + TDF/FTC (N=717)</c:v>
                </c:pt>
              </c:strCache>
            </c:strRef>
          </c:tx>
          <c:spPr>
            <a:solidFill>
              <a:srgbClr val="FF6600"/>
            </a:solidFill>
            <a:ln w="635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C$2:$C$3</c:f>
              <c:numCache>
                <c:formatCode>0</c:formatCode>
                <c:ptCount val="2"/>
                <c:pt idx="0">
                  <c:v>98</c:v>
                </c:pt>
                <c:pt idx="1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92-4AD8-B316-A8C474BFCB12}"/>
            </c:ext>
          </c:extLst>
        </c:ser>
        <c:ser>
          <c:idx val="4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92-4AD8-B316-A8C474BFCB12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"/>
              <c:pt idx="0">
                <c:v>HIV RNA</c:v>
              </c:pt>
              <c:pt idx="1">
                <c:v>CD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D$1:$D$3</c:f>
              <c:numCache>
                <c:formatCode>General</c:formatCode>
                <c:ptCount val="2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B92-4AD8-B316-A8C474BFCB12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TG + 3TC (N=694)</c:v>
                </c:pt>
              </c:strCache>
            </c:strRef>
          </c:tx>
          <c:spPr>
            <a:solidFill>
              <a:srgbClr val="002F5F"/>
            </a:solidFill>
            <a:ln w="3175">
              <a:solidFill>
                <a:srgbClr val="000000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B92-4AD8-B316-A8C474BFCB1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E$2:$E$3</c:f>
              <c:numCache>
                <c:formatCode>0</c:formatCode>
                <c:ptCount val="2"/>
                <c:pt idx="0">
                  <c:v>99</c:v>
                </c:pt>
                <c:pt idx="1">
                  <c:v>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B92-4AD8-B316-A8C474BFCB12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TG + TDF/FTC (N=693)</c:v>
                </c:pt>
              </c:strCache>
            </c:strRef>
          </c:tx>
          <c:spPr>
            <a:solidFill>
              <a:srgbClr val="FF6600"/>
            </a:solidFill>
            <a:ln w="3175"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97</c:v>
                </c:pt>
                <c:pt idx="1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92-4AD8-B316-A8C474BFCB1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2119944904"/>
        <c:axId val="2119948232"/>
      </c:barChart>
      <c:catAx>
        <c:axId val="2119944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9038">
            <a:solidFill>
              <a:srgbClr val="000000"/>
            </a:solidFill>
          </a:ln>
        </c:spPr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2119948232"/>
        <c:crosses val="autoZero"/>
        <c:auto val="1"/>
        <c:lblAlgn val="ctr"/>
        <c:lblOffset val="100"/>
        <c:noMultiLvlLbl val="0"/>
      </c:catAx>
      <c:valAx>
        <c:axId val="2119948232"/>
        <c:scaling>
          <c:orientation val="minMax"/>
          <c:max val="1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defRPr>
                </a:pPr>
                <a:r>
                  <a:rPr lang="en-US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Without TRDF, %</a:t>
                </a:r>
              </a:p>
            </c:rich>
          </c:tx>
          <c:layout>
            <c:manualLayout>
              <c:xMode val="edge"/>
              <c:yMode val="edge"/>
              <c:x val="4.1115369237980301E-3"/>
              <c:y val="0.23124860937196501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 w="19038">
            <a:solidFill>
              <a:srgbClr val="000000"/>
            </a:solidFill>
          </a:ln>
        </c:spPr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2119944904"/>
        <c:crosses val="autoZero"/>
        <c:crossBetween val="between"/>
        <c:majorUnit val="20"/>
      </c:valAx>
      <c:spPr>
        <a:noFill/>
        <a:ln w="25384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es-E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468834363490601"/>
          <c:y val="7.5560859607536598E-2"/>
          <c:w val="0.84596762403937897"/>
          <c:h val="0.888571146152287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TG + 3TC (N=716)</c:v>
                </c:pt>
              </c:strCache>
            </c:strRef>
          </c:tx>
          <c:spPr>
            <a:solidFill>
              <a:srgbClr val="002F5F"/>
            </a:solidFill>
            <a:ln w="635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B$2:$B$3</c:f>
              <c:numCache>
                <c:formatCode>0</c:formatCode>
                <c:ptCount val="2"/>
                <c:pt idx="0">
                  <c:v>91</c:v>
                </c:pt>
                <c:pt idx="1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B5-4B3C-9695-8781486ABA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TG + TDF/FTC (N=717)</c:v>
                </c:pt>
              </c:strCache>
            </c:strRef>
          </c:tx>
          <c:spPr>
            <a:solidFill>
              <a:srgbClr val="FF6600"/>
            </a:solidFill>
            <a:ln w="635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 baseline="0">
                    <a:solidFill>
                      <a:schemeClr val="tx1"/>
                    </a:solidFill>
                    <a:latin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C$2:$C$3</c:f>
              <c:numCache>
                <c:formatCode>0</c:formatCode>
                <c:ptCount val="2"/>
                <c:pt idx="0">
                  <c:v>94</c:v>
                </c:pt>
                <c:pt idx="1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B5-4B3C-9695-8781486ABA4E}"/>
            </c:ext>
          </c:extLst>
        </c:ser>
        <c:ser>
          <c:idx val="4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CB5-4B3C-9695-8781486ABA4E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Lit>
              <c:ptCount val="2"/>
              <c:pt idx="0">
                <c:v>HIV RNA</c:v>
              </c:pt>
              <c:pt idx="1">
                <c:v>CD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D$1:$D$3</c:f>
              <c:numCache>
                <c:formatCode>General</c:formatCode>
                <c:ptCount val="2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B5-4B3C-9695-8781486ABA4E}"/>
            </c:ext>
          </c:extLst>
        </c:ser>
        <c:ser>
          <c:idx val="2"/>
          <c:order val="3"/>
          <c:tx>
            <c:strRef>
              <c:f>Sheet1!$E$1</c:f>
              <c:strCache>
                <c:ptCount val="1"/>
                <c:pt idx="0">
                  <c:v>DTG + 3TC (N=694)</c:v>
                </c:pt>
              </c:strCache>
            </c:strRef>
          </c:tx>
          <c:spPr>
            <a:solidFill>
              <a:srgbClr val="002F5F"/>
            </a:solidFill>
            <a:ln w="3175">
              <a:solidFill>
                <a:srgbClr val="000000"/>
              </a:solidFill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CB5-4B3C-9695-8781486ABA4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E$2:$E$3</c:f>
              <c:numCache>
                <c:formatCode>0</c:formatCode>
                <c:ptCount val="2"/>
                <c:pt idx="0">
                  <c:v>92</c:v>
                </c:pt>
                <c:pt idx="1">
                  <c:v>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CB5-4B3C-9695-8781486ABA4E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DTG + TDF/FTC (N=693)</c:v>
                </c:pt>
              </c:strCache>
            </c:strRef>
          </c:tx>
          <c:spPr>
            <a:solidFill>
              <a:srgbClr val="FF6600"/>
            </a:solidFill>
            <a:ln w="3175">
              <a:solidFill>
                <a:srgbClr val="FF66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HIV RNA</c:v>
                </c:pt>
                <c:pt idx="1">
                  <c:v>CD4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90</c:v>
                </c:pt>
                <c:pt idx="1">
                  <c:v>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CB5-4B3C-9695-8781486ABA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50"/>
        <c:axId val="2120063816"/>
        <c:axId val="2120067144"/>
      </c:barChart>
      <c:catAx>
        <c:axId val="2120063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9038">
            <a:solidFill>
              <a:srgbClr val="000000"/>
            </a:solidFill>
          </a:ln>
        </c:spPr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2120067144"/>
        <c:crosses val="autoZero"/>
        <c:auto val="1"/>
        <c:lblAlgn val="ctr"/>
        <c:lblOffset val="100"/>
        <c:noMultiLvlLbl val="0"/>
      </c:catAx>
      <c:valAx>
        <c:axId val="2120067144"/>
        <c:scaling>
          <c:orientation val="minMax"/>
          <c:max val="1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defRPr>
                </a:pPr>
                <a:r>
                  <a:rPr lang="en-US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HIV-1 RNA &lt;50 c/mL, %</a:t>
                </a:r>
              </a:p>
            </c:rich>
          </c:tx>
          <c:layout>
            <c:manualLayout>
              <c:xMode val="edge"/>
              <c:yMode val="edge"/>
              <c:x val="1.01888785127453E-2"/>
              <c:y val="0.15369783976072199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spPr>
          <a:ln w="19038">
            <a:solidFill>
              <a:srgbClr val="000000"/>
            </a:solidFill>
          </a:ln>
        </c:spPr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s-ES"/>
          </a:p>
        </c:txPr>
        <c:crossAx val="2120063816"/>
        <c:crosses val="autoZero"/>
        <c:crossBetween val="between"/>
        <c:majorUnit val="20"/>
      </c:valAx>
      <c:spPr>
        <a:noFill/>
        <a:ln w="25384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es-E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3DEC95-AA1F-4928-BF31-418187ED3281}" type="datetimeFigureOut">
              <a:rPr lang="en-GB" smtClean="0"/>
              <a:pPr/>
              <a:t>14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DEF22B-9A79-4C26-976C-B5CED4BB150E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14770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457172-BC8C-924A-8875-5AF02A436113}" type="datetimeFigureOut">
              <a:rPr lang="en-US" smtClean="0"/>
              <a:pPr/>
              <a:t>11/1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E8D311-A15E-D747-87D9-326963096DF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06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dirty="0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5147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83401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60242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880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50623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4146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5039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5573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7405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0954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535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11546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4386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65818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7606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27592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948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622430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0665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57029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528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654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data demonstrates that high barrier to resistance agents such a DTG, LPV/r and DRV/r require multiple mutations to fail. 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 example DTG, requires a Q148H/K/R mutation plus 2 or more additional INI resistance mutations including such as G140A/C/S, E138A/K/T, or L74I to achieve phenotypic resistance. This is a significant genetic barrier for the virus it also incurs a fitness loss down the resistance pathway. 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TG, LPV/r and DRV/r are also very potent drugs with high inhibitory quotients which make it hard for the virus to select mutations which replicate in-vivo in the presence of the drug 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A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recent literature summary (</a:t>
            </a:r>
            <a:r>
              <a:rPr lang="en-GB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vik</a:t>
            </a: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0) identified only 5 cases of VF with resistance in naïve and 10 in treatment experienced. </a:t>
            </a: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the 15 cases, 10 had either suboptimal DTG levels when they were measured or had documented poor adherence, and 3 had advanced HIV and severe active infections. The key point, failure with a DTG based regimen either 3DR or 2DR is </a:t>
            </a:r>
            <a:r>
              <a:rPr lang="en-AU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remely rare</a:t>
            </a:r>
            <a:r>
              <a:rPr lang="en-A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0338A2-0395-4A64-89DB-BCA64538128F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9848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777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83231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90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40068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/>
          </a:p>
        </p:txBody>
      </p:sp>
      <p:sp>
        <p:nvSpPr>
          <p:cNvPr id="2109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092806-5901-4883-A507-247E9904E846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858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ox_Title_Bold Sub_Italic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>
            <a:extLst>
              <a:ext uri="{FF2B5EF4-FFF2-40B4-BE49-F238E27FC236}">
                <a16:creationId xmlns:a16="http://schemas.microsoft.com/office/drawing/2014/main" id="{A5AA2633-09F9-49AE-9D54-593639DB2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202"/>
            <a:ext cx="12192000" cy="339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1117600" y="5574792"/>
            <a:ext cx="8631936" cy="859536"/>
          </a:xfrm>
        </p:spPr>
        <p:txBody>
          <a:bodyPr/>
          <a:lstStyle>
            <a:lvl1pPr marL="0" indent="0">
              <a:buNone/>
              <a:defRPr sz="1050" i="1">
                <a:solidFill>
                  <a:schemeClr val="tx1"/>
                </a:solidFill>
              </a:defRPr>
            </a:lvl1pPr>
            <a:lvl2pPr marL="185733" indent="0">
              <a:buNone/>
              <a:defRPr/>
            </a:lvl2pPr>
            <a:lvl3pPr marL="380990" indent="0">
              <a:buNone/>
              <a:defRPr/>
            </a:lvl3pPr>
            <a:lvl4pPr marL="552437" indent="0">
              <a:buNone/>
              <a:defRPr/>
            </a:lvl4pPr>
            <a:lvl5pPr marL="71594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117600" y="2209804"/>
            <a:ext cx="8636000" cy="195421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117600" y="4648200"/>
            <a:ext cx="8631936" cy="908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1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339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  <a:noFill/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12800" y="1676400"/>
            <a:ext cx="10565728" cy="4419600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1" y="6248400"/>
            <a:ext cx="10565726" cy="457200"/>
          </a:xfrm>
        </p:spPr>
        <p:txBody>
          <a:bodyPr tIns="0" rIns="0" bIns="0" anchor="b"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960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67640"/>
            <a:ext cx="10565728" cy="787400"/>
          </a:xfrm>
          <a:noFill/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1" y="6248400"/>
            <a:ext cx="10565726" cy="457200"/>
          </a:xfrm>
        </p:spPr>
        <p:txBody>
          <a:bodyPr tIns="0" rIns="0" bIns="0" anchor="b"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378528" y="6340475"/>
            <a:ext cx="591800" cy="365125"/>
          </a:xfrm>
        </p:spPr>
        <p:txBody>
          <a:bodyPr lIns="0" tIns="0" rIns="0" bIns="0"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fld id="{2BE16F37-D63B-443C-96C0-C234F1098F7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301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4" y="0"/>
            <a:ext cx="12221633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2400" b="1" baseline="-25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Rectangle 2"/>
          <p:cNvSpPr>
            <a:spLocks noChangeArrowheads="1"/>
          </p:cNvSpPr>
          <p:nvPr userDrawn="1"/>
        </p:nvSpPr>
        <p:spPr bwMode="auto">
          <a:xfrm>
            <a:off x="-4233" y="3581400"/>
            <a:ext cx="12227984" cy="3278188"/>
          </a:xfrm>
          <a:prstGeom prst="rect">
            <a:avLst/>
          </a:prstGeom>
          <a:solidFill>
            <a:srgbClr val="DDDDDD"/>
          </a:solidFill>
          <a:ln w="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25000"/>
              </a:spcAft>
              <a:defRPr/>
            </a:pPr>
            <a:endParaRPr lang="en-GB" sz="2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Line 7"/>
          <p:cNvSpPr>
            <a:spLocks noChangeShapeType="1"/>
          </p:cNvSpPr>
          <p:nvPr userDrawn="1"/>
        </p:nvSpPr>
        <p:spPr bwMode="auto">
          <a:xfrm>
            <a:off x="-4233" y="3429000"/>
            <a:ext cx="12227984" cy="0"/>
          </a:xfrm>
          <a:prstGeom prst="line">
            <a:avLst/>
          </a:prstGeom>
          <a:noFill/>
          <a:ln w="57150">
            <a:solidFill>
              <a:srgbClr val="B2B2B2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Line 8"/>
          <p:cNvSpPr>
            <a:spLocks noChangeShapeType="1"/>
          </p:cNvSpPr>
          <p:nvPr userDrawn="1"/>
        </p:nvSpPr>
        <p:spPr bwMode="auto">
          <a:xfrm>
            <a:off x="-4233" y="3516313"/>
            <a:ext cx="12227984" cy="0"/>
          </a:xfrm>
          <a:prstGeom prst="line">
            <a:avLst/>
          </a:prstGeom>
          <a:noFill/>
          <a:ln w="571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6559" y="457200"/>
            <a:ext cx="10566400" cy="2816352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7619" y="4114800"/>
            <a:ext cx="10566400" cy="609600"/>
          </a:xfrm>
        </p:spPr>
        <p:txBody>
          <a:bodyPr/>
          <a:lstStyle>
            <a:lvl1pPr marL="0" indent="0" algn="ctr">
              <a:buNone/>
              <a:defRPr sz="18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827619" y="5029200"/>
            <a:ext cx="10566400" cy="914400"/>
          </a:xfrm>
        </p:spPr>
        <p:txBody>
          <a:bodyPr/>
          <a:lstStyle>
            <a:lvl1pPr marL="0" indent="0" algn="ctr">
              <a:buNone/>
              <a:defRPr sz="1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434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38D4A-F042-4F58-905F-5473818EB138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779BCB-4F6A-4FE8-AE2E-9DABE7BBBDC6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546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4B9FF-F11F-4E6B-BD6F-0062BC103A59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31FC58-45A4-4C19-8D9F-15F20A99C7AE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4592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16E512-587D-4666-B2D8-39C056EF2E74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789FF-6A63-4039-B5C7-D31A76910B26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88165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8987A5-570F-40AD-A53E-393480E1B5C1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940F4-D00A-4FC2-883E-99715543351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311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8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FC04A5-C275-4B2A-B19A-4F68D02E4F23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67A15-B748-42B2-B227-2E3AB4BEB943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24898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6FF94-1165-4352-8114-AC06D60F62D5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0730C2-D1CD-4393-91B5-EBFA0897170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787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2E4C9-1F50-4137-ACAC-FFC395A14CA4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F2FD99-FDBF-4B36-BC90-7D4C7B766588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121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Box_Title_Italic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>
            <a:extLst>
              <a:ext uri="{FF2B5EF4-FFF2-40B4-BE49-F238E27FC236}">
                <a16:creationId xmlns:a16="http://schemas.microsoft.com/office/drawing/2014/main" id="{326D5FAB-929D-47F0-9DFC-0B12A489B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202"/>
            <a:ext cx="12192000" cy="339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117600" y="2209804"/>
            <a:ext cx="8636000" cy="195421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117600" y="4648200"/>
            <a:ext cx="8631936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 b="0" i="1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030393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DAE388-B2B6-49AE-8AED-E75BAC52D027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2D0E12-6A75-49C4-B21C-312D85BAB9A8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5046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ADDAC-FC9E-44E4-9DB7-EF333D4CFA5E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B50BA-26D2-475A-9A10-96EF4ED2F00C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1766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2D07E3-987F-46B6-83F0-716EE13BA99A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E1C057-08A3-4F45-BA5F-5A15AE9BC4FC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97728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63B40D-BD17-44F5-BD75-4C9A7037D898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6031D-6E5E-4BD7-8358-75C15A9016FB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05001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30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" name="图片 14" descr="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6594477"/>
            <a:ext cx="12204700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图片 15" descr="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2447927"/>
            <a:ext cx="10206567" cy="149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图片 16" descr="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2447927"/>
            <a:ext cx="1981200" cy="148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buFontTx/>
              <a:buNone/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buFontTx/>
              <a:buNone/>
              <a:defRPr>
                <a:ea typeface="微软雅黑" pitchFamily="34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7F9DAA1B-23AA-413B-9AF2-1D2137C68170}" type="slidenum">
              <a:rPr lang="zh-CN" altLang="en-US"/>
              <a:pPr>
                <a:defRPr/>
              </a:pPr>
              <a:t>‹Nº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763555730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73F54C1-1A57-44C8-86D9-A61E13D04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F3F2F77-D80F-4B57-99F1-EDDA4B359CA8}"/>
              </a:ext>
            </a:extLst>
          </p:cNvPr>
          <p:cNvCxnSpPr>
            <a:cxnSpLocks/>
          </p:cNvCxnSpPr>
          <p:nvPr userDrawn="1"/>
        </p:nvCxnSpPr>
        <p:spPr>
          <a:xfrm>
            <a:off x="673100" y="672643"/>
            <a:ext cx="11067281" cy="0"/>
          </a:xfrm>
          <a:prstGeom prst="line">
            <a:avLst/>
          </a:prstGeom>
          <a:ln w="6350">
            <a:solidFill>
              <a:srgbClr val="071D49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323011C-889E-40FB-9049-ADF73277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3100" y="2002394"/>
            <a:ext cx="11075988" cy="441146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800" spc="-50" baseline="0">
                <a:solidFill>
                  <a:srgbClr val="071D49"/>
                </a:solidFill>
                <a:latin typeface="Raleway" panose="020B0503030101060003" pitchFamily="34" charset="0"/>
              </a:defRPr>
            </a:lvl1pPr>
            <a:lvl2pPr marL="18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EB1852"/>
              </a:buClr>
              <a:buFont typeface="Arial" panose="020B0604020202020204" pitchFamily="34" charset="0"/>
              <a:buChar char="•"/>
              <a:defRPr sz="1400">
                <a:solidFill>
                  <a:srgbClr val="071D49"/>
                </a:solidFill>
                <a:latin typeface="Raleway" panose="020B0503030101060003" pitchFamily="34" charset="0"/>
              </a:defRPr>
            </a:lvl2pPr>
            <a:lvl3pPr marL="18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EB1852"/>
              </a:buClr>
              <a:buFont typeface="Arial" panose="020B0604020202020204" pitchFamily="34" charset="0"/>
              <a:buChar char="•"/>
              <a:defRPr sz="1100">
                <a:solidFill>
                  <a:srgbClr val="071D49"/>
                </a:solidFill>
                <a:latin typeface="Raleway" panose="020B0503030101060003" pitchFamily="34" charset="0"/>
              </a:defRPr>
            </a:lvl3pPr>
            <a:lvl4pPr marL="180000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EB1852"/>
              </a:buClr>
              <a:buFont typeface="Arial" panose="020B0604020202020204" pitchFamily="34" charset="0"/>
              <a:buChar char="•"/>
              <a:defRPr sz="850">
                <a:solidFill>
                  <a:srgbClr val="071D49"/>
                </a:solidFill>
                <a:latin typeface="Raleway" panose="020B0503030101060003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None/>
              <a:defRPr sz="1100" b="1">
                <a:solidFill>
                  <a:srgbClr val="E40046"/>
                </a:solidFill>
                <a:latin typeface="Raleway" panose="020B0503030101060003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071D49"/>
                </a:solidFill>
                <a:latin typeface="Raleway" panose="020B0503030101060003" pitchFamily="34" charset="0"/>
              </a:defRPr>
            </a:lvl6pPr>
          </a:lstStyle>
          <a:p>
            <a:pPr lvl="0"/>
            <a:r>
              <a:rPr lang="en-GB" dirty="0"/>
              <a:t>Top level, </a:t>
            </a:r>
            <a:r>
              <a:rPr lang="en-GB" dirty="0" err="1"/>
              <a:t>Raleway</a:t>
            </a:r>
            <a:r>
              <a:rPr lang="en-GB" dirty="0"/>
              <a:t> no bullet</a:t>
            </a:r>
          </a:p>
          <a:p>
            <a:pPr lvl="1">
              <a:buFont typeface="Helvetica" pitchFamily="2" charset="0"/>
              <a:buChar char="⁄"/>
            </a:pPr>
            <a:r>
              <a:rPr lang="en-GB" dirty="0"/>
              <a:t>Second level, </a:t>
            </a:r>
            <a:r>
              <a:rPr lang="en-GB" dirty="0" err="1"/>
              <a:t>Raleway</a:t>
            </a:r>
            <a:r>
              <a:rPr lang="en-GB" dirty="0"/>
              <a:t> bullet point</a:t>
            </a:r>
          </a:p>
          <a:p>
            <a:pPr marL="360000" lvl="2">
              <a:buSzPct val="100000"/>
              <a:buFont typeface="Helvetica" pitchFamily="2" charset="0"/>
              <a:buChar char="●"/>
            </a:pPr>
            <a:r>
              <a:rPr lang="en-GB" dirty="0"/>
              <a:t>Third level, </a:t>
            </a:r>
            <a:r>
              <a:rPr lang="en-GB" dirty="0" err="1"/>
              <a:t>Raleway</a:t>
            </a:r>
            <a:r>
              <a:rPr lang="en-GB" dirty="0"/>
              <a:t> bullet point</a:t>
            </a:r>
          </a:p>
          <a:p>
            <a:pPr marL="540000" lvl="3">
              <a:buFont typeface="Helvetica" pitchFamily="2" charset="0"/>
              <a:buChar char="●"/>
            </a:pPr>
            <a:r>
              <a:rPr lang="en-GB" sz="1000" dirty="0"/>
              <a:t>Fourth level, </a:t>
            </a:r>
            <a:r>
              <a:rPr lang="en-GB" sz="1000" dirty="0" err="1"/>
              <a:t>Raleway</a:t>
            </a:r>
            <a:r>
              <a:rPr lang="en-GB" sz="1000" dirty="0"/>
              <a:t> bullet point</a:t>
            </a:r>
          </a:p>
          <a:p>
            <a:pPr lvl="3"/>
            <a:endParaRPr lang="en-GB" dirty="0"/>
          </a:p>
          <a:p>
            <a:pPr lvl="4"/>
            <a:r>
              <a:rPr lang="en-GB" dirty="0"/>
              <a:t>Sub heading, </a:t>
            </a:r>
            <a:r>
              <a:rPr lang="en-GB" dirty="0" err="1"/>
              <a:t>Raleway</a:t>
            </a:r>
            <a:r>
              <a:rPr lang="en-GB" dirty="0"/>
              <a:t> Bold</a:t>
            </a:r>
          </a:p>
          <a:p>
            <a:pPr lvl="5"/>
            <a:r>
              <a:rPr lang="en-GB" dirty="0"/>
              <a:t>Body copy </a:t>
            </a:r>
            <a:r>
              <a:rPr lang="en-GB" dirty="0" err="1"/>
              <a:t>Raleway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94DDC7D-2914-4CFD-8ABB-6752F6A9CD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68000" y="6518366"/>
            <a:ext cx="2628000" cy="20310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 b="1">
                <a:solidFill>
                  <a:schemeClr val="bg1"/>
                </a:solidFill>
                <a:latin typeface="Raleway" charset="0"/>
                <a:ea typeface="Raleway" charset="0"/>
                <a:cs typeface="Raleway" charset="0"/>
              </a:defRPr>
            </a:lvl1pPr>
          </a:lstStyle>
          <a:p>
            <a:fld id="{2A4924F2-D2C6-4E44-94BF-16121116D9F5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E761B18-C432-4D9D-AFBC-23FB982889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3100" y="456524"/>
            <a:ext cx="4114800" cy="18757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50">
                <a:solidFill>
                  <a:srgbClr val="071D49"/>
                </a:solidFill>
              </a:defRPr>
            </a:lvl1pPr>
          </a:lstStyle>
          <a:p>
            <a:r>
              <a:rPr lang="en-GB"/>
              <a:t>PowerPoint title (Global update in Header and Footer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80802E-8C74-4F53-844D-46053432F0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49F6394-059D-48A0-B628-F8AC4DC303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74424" y="6599238"/>
            <a:ext cx="3169876" cy="969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buNone/>
              <a:defRPr sz="700">
                <a:solidFill>
                  <a:srgbClr val="071D49"/>
                </a:solidFill>
                <a:latin typeface="Raleway" panose="020B0503030101060003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disclaimer place holder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A31CE7D-A7FA-4D32-AF27-26BE819035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100" y="1089025"/>
            <a:ext cx="11063288" cy="7207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75000"/>
              </a:lnSpc>
              <a:buFontTx/>
              <a:buNone/>
              <a:defRPr sz="2500" b="0">
                <a:solidFill>
                  <a:srgbClr val="EB1852"/>
                </a:solidFill>
                <a:latin typeface="Breakthrough" panose="02060603040202040303" pitchFamily="18" charset="0"/>
              </a:defRPr>
            </a:lvl1pPr>
            <a:lvl2pPr marL="457200" indent="0">
              <a:buNone/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 err="1"/>
              <a:t>SLiDE</a:t>
            </a:r>
            <a:r>
              <a:rPr lang="en-US" dirty="0"/>
              <a:t> </a:t>
            </a:r>
            <a:r>
              <a:rPr lang="en-US" dirty="0" err="1"/>
              <a:t>HEADiNG</a:t>
            </a:r>
            <a:br>
              <a:rPr lang="en-US" dirty="0"/>
            </a:br>
            <a:r>
              <a:rPr lang="en-US" dirty="0"/>
              <a:t>BREAKTHROUGH</a:t>
            </a:r>
          </a:p>
        </p:txBody>
      </p:sp>
    </p:spTree>
    <p:extLst>
      <p:ext uri="{BB962C8B-B14F-4D97-AF65-F5344CB8AC3E}">
        <p14:creationId xmlns:p14="http://schemas.microsoft.com/office/powerpoint/2010/main" val="1507505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71D49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C8198AC-B182-444C-B9E0-31ADF85834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93043AE-BFD2-417D-BD26-0E69EEE7F4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7848" y="4041913"/>
            <a:ext cx="9888539" cy="1286370"/>
          </a:xfrm>
          <a:prstGeom prst="rect">
            <a:avLst/>
          </a:prstGeom>
        </p:spPr>
        <p:txBody>
          <a:bodyPr lIns="54000" tIns="0" rIns="0" bIns="0">
            <a:normAutofit/>
          </a:bodyPr>
          <a:lstStyle>
            <a:lvl1pPr marL="0" indent="0">
              <a:buNone/>
              <a:defRPr sz="1800" b="1" spc="-40" baseline="0">
                <a:solidFill>
                  <a:srgbClr val="E40046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Affiliation/job position – use indent one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14424" cy="32598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177E2D-1600-4F80-BCA2-A1567083D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346773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39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702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4A0D9-3D7F-4161-89D9-84DBABE62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3E6BB9-3111-4DC0-A200-9E80219C8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484695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080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4A0D9-3D7F-4161-89D9-84DBABE62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3E6BB9-3111-4DC0-A200-9E80219C8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484695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02199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25463814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_Teal Sub_Bold Sub_Italic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176CF4-D79C-46EC-BBD5-882D3F4BBEE6}"/>
              </a:ext>
            </a:extLst>
          </p:cNvPr>
          <p:cNvCxnSpPr/>
          <p:nvPr userDrawn="1"/>
        </p:nvCxnSpPr>
        <p:spPr>
          <a:xfrm>
            <a:off x="624421" y="364701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10149" y="3785617"/>
            <a:ext cx="10485120" cy="1014984"/>
          </a:xfrm>
        </p:spPr>
        <p:txBody>
          <a:bodyPr anchor="t">
            <a:normAutofit/>
          </a:bodyPr>
          <a:lstStyle>
            <a:lvl1pPr algn="l">
              <a:lnSpc>
                <a:spcPts val="2400"/>
              </a:lnSpc>
              <a:defRPr sz="1600" b="1" i="0" cap="none" baseline="0">
                <a:solidFill>
                  <a:srgbClr val="008790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110149" y="990602"/>
            <a:ext cx="10485120" cy="248056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indent="0">
              <a:buNone/>
              <a:defRPr lang="en-US" sz="2400" b="1" dirty="0" smtClean="0">
                <a:solidFill>
                  <a:srgbClr val="E3183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110149" y="4828881"/>
            <a:ext cx="10485120" cy="838200"/>
          </a:xfrm>
        </p:spPr>
        <p:txBody>
          <a:bodyPr/>
          <a:lstStyle>
            <a:lvl1pPr marL="0" indent="0">
              <a:buNone/>
              <a:defRPr sz="1200" b="1"/>
            </a:lvl1pPr>
            <a:lvl2pPr marL="185733" indent="0">
              <a:buNone/>
              <a:defRPr b="1"/>
            </a:lvl2pPr>
            <a:lvl3pPr marL="380990" indent="0">
              <a:buNone/>
              <a:defRPr b="1"/>
            </a:lvl3pPr>
            <a:lvl4pPr marL="552437" indent="0">
              <a:buNone/>
              <a:defRPr b="1"/>
            </a:lvl4pPr>
            <a:lvl5pPr marL="715944" indent="0">
              <a:buNone/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1110149" y="5705576"/>
            <a:ext cx="10485120" cy="750063"/>
          </a:xfrm>
        </p:spPr>
        <p:txBody>
          <a:bodyPr/>
          <a:lstStyle>
            <a:lvl1pPr marL="0" indent="0">
              <a:buNone/>
              <a:defRPr sz="1050" i="1"/>
            </a:lvl1pPr>
            <a:lvl2pPr marL="185733" indent="0">
              <a:buNone/>
              <a:defRPr/>
            </a:lvl2pPr>
            <a:lvl3pPr marL="380990" indent="0">
              <a:buNone/>
              <a:defRPr/>
            </a:lvl3pPr>
            <a:lvl4pPr marL="552437" indent="0">
              <a:buNone/>
              <a:defRPr/>
            </a:lvl4pPr>
            <a:lvl5pPr marL="71594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94560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5" y="1592263"/>
            <a:ext cx="10933113" cy="4622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2694148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6" y="1592263"/>
            <a:ext cx="5148000" cy="4622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6C32327-31B3-4425-A977-201C9FADA9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388" y="1592263"/>
            <a:ext cx="5148000" cy="45735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3300758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A461A907-F581-4AFD-A269-23BE91D06D4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803275" y="1592263"/>
            <a:ext cx="10933113" cy="45735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15218457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-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5" y="1592263"/>
            <a:ext cx="10933113" cy="4622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None/>
              <a:defRPr sz="900"/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25777422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275" y="6597878"/>
            <a:ext cx="5202687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17792370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D5AE0D20-52C4-48A2-89D4-172F2B1999E4}"/>
              </a:ext>
            </a:extLst>
          </p:cNvPr>
          <p:cNvSpPr/>
          <p:nvPr userDrawn="1"/>
        </p:nvSpPr>
        <p:spPr>
          <a:xfrm>
            <a:off x="1" y="-16330"/>
            <a:ext cx="12192000" cy="4629151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0" name="Rectangle 55">
            <a:extLst>
              <a:ext uri="{FF2B5EF4-FFF2-40B4-BE49-F238E27FC236}">
                <a16:creationId xmlns:a16="http://schemas.microsoft.com/office/drawing/2014/main" id="{BF36614D-B8F2-481E-A87C-8DAC5BE9301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725677" y="409576"/>
            <a:ext cx="11032823" cy="2882265"/>
          </a:xfrm>
        </p:spPr>
        <p:txBody>
          <a:bodyPr/>
          <a:lstStyle>
            <a:lvl1pPr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C37FFD4-1B69-49FD-AB11-399DEBA133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3358209"/>
            <a:ext cx="3827419" cy="1247410"/>
          </a:xfrm>
          <a:prstGeom prst="rect">
            <a:avLst/>
          </a:prstGeom>
        </p:spPr>
      </p:pic>
      <p:pic>
        <p:nvPicPr>
          <p:cNvPr id="22" name="Picture 3" descr="CCO_HIV_RGB.jpg">
            <a:extLst>
              <a:ext uri="{FF2B5EF4-FFF2-40B4-BE49-F238E27FC236}">
                <a16:creationId xmlns:a16="http://schemas.microsoft.com/office/drawing/2014/main" id="{43B64CC0-EEA1-49B6-8FEE-32711ACF53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4"/>
          <a:stretch>
            <a:fillRect/>
          </a:stretch>
        </p:blipFill>
        <p:spPr bwMode="auto">
          <a:xfrm>
            <a:off x="8148638" y="5891213"/>
            <a:ext cx="367188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6515A54-8674-49F7-B1B4-23E0F7F8AB6D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0425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2371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DDD0001-9342-455E-88A6-08ABADA3E0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5345430"/>
            <a:ext cx="3827419" cy="124741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C06745F-7DB6-4D4F-AFDB-384384B4DF79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0053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92781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1951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010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75F35EE-BFAC-491A-98FC-0E7D2F146DD0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1" y="1350963"/>
            <a:ext cx="11144251" cy="4498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noProof="0" dirty="0"/>
              <a:t>Click to edit Master text styles</a:t>
            </a:r>
          </a:p>
          <a:p>
            <a:pPr lvl="1"/>
            <a:r>
              <a:rPr lang="en-US" altLang="en-US" noProof="0" dirty="0"/>
              <a:t>Second level</a:t>
            </a:r>
          </a:p>
          <a:p>
            <a:pPr lvl="2"/>
            <a:r>
              <a:rPr lang="en-US" altLang="en-US" noProof="0" dirty="0"/>
              <a:t>Third level</a:t>
            </a:r>
          </a:p>
          <a:p>
            <a:pPr lvl="3"/>
            <a:r>
              <a:rPr lang="en-US" altLang="en-US" noProof="0" dirty="0"/>
              <a:t>Fourth level</a:t>
            </a:r>
          </a:p>
          <a:p>
            <a:pPr lvl="4"/>
            <a:r>
              <a:rPr lang="en-US" altLang="en-US" noProof="0" dirty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6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5673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347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24760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B358DEB-BBFD-49BD-91E5-BCABE57F09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581" y="3358209"/>
            <a:ext cx="3827419" cy="124741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F15D22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4" name="Picture 3" descr="CCO_HIV_RGB.jpg">
            <a:extLst>
              <a:ext uri="{FF2B5EF4-FFF2-40B4-BE49-F238E27FC236}">
                <a16:creationId xmlns:a16="http://schemas.microsoft.com/office/drawing/2014/main" id="{D119244E-D5F0-4D18-8BCF-9ED4E81910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054"/>
          <a:stretch>
            <a:fillRect/>
          </a:stretch>
        </p:blipFill>
        <p:spPr bwMode="auto">
          <a:xfrm>
            <a:off x="8148638" y="5891213"/>
            <a:ext cx="3671887" cy="703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16401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- Gray">
    <p:bg>
      <p:bgPr>
        <a:solidFill>
          <a:srgbClr val="D0D3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>
            <a:extLst>
              <a:ext uri="{FF2B5EF4-FFF2-40B4-BE49-F238E27FC236}">
                <a16:creationId xmlns:a16="http://schemas.microsoft.com/office/drawing/2014/main" id="{0EFCFACB-866A-455B-8F69-93CD9F3D3D6E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1483292" cy="42672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F645C7C-F0D4-4F5C-8D68-FB851D5670AC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 dirty="0">
                <a:solidFill>
                  <a:schemeClr val="tx1"/>
                </a:solidFill>
              </a:rPr>
              <a:t>IDWeek 2020™; October 21-25, 2020; Virtu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5A9598-132B-4791-AA81-8424EC568A8B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rgbClr val="071D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3951345F-605B-4B05-8202-DE3B46F9CD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7280" y="1828800"/>
            <a:ext cx="9144000" cy="25603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  <a:effectLst/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9680979-CC01-4E77-8530-905039B45F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7280" y="4572000"/>
            <a:ext cx="9144000" cy="908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 b="1" i="0">
                <a:solidFill>
                  <a:schemeClr val="tx2"/>
                </a:solidFill>
                <a:effectLst/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0F6C3D1-ED36-45A1-94EC-A543584321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5303520"/>
            <a:ext cx="9144000" cy="859536"/>
          </a:xfrm>
        </p:spPr>
        <p:txBody>
          <a:bodyPr/>
          <a:lstStyle>
            <a:lvl1pPr marL="0" indent="0">
              <a:buNone/>
              <a:defRPr sz="1150" i="1">
                <a:solidFill>
                  <a:schemeClr val="tx1"/>
                </a:solidFill>
              </a:defRPr>
            </a:lvl1pPr>
            <a:lvl2pPr marL="247644" indent="0">
              <a:buNone/>
              <a:defRPr/>
            </a:lvl2pPr>
            <a:lvl3pPr marL="507987" indent="0">
              <a:buNone/>
              <a:defRPr/>
            </a:lvl3pPr>
            <a:lvl4pPr marL="736582" indent="0">
              <a:buNone/>
              <a:defRPr/>
            </a:lvl4pPr>
            <a:lvl5pPr marL="95459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90AADF-112C-4300-8D1F-49B825951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485899" cy="4346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06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93">
          <p15:clr>
            <a:srgbClr val="FBAE40"/>
          </p15:clr>
        </p15:guide>
        <p15:guide id="4" pos="561">
          <p15:clr>
            <a:srgbClr val="FBAE40"/>
          </p15:clr>
        </p15:guide>
        <p15:guide id="5" orient="horz" pos="4032">
          <p15:clr>
            <a:srgbClr val="FBAE40"/>
          </p15:clr>
        </p15:guide>
        <p15:guide id="6" orient="horz" pos="4159">
          <p15:clr>
            <a:srgbClr val="FBAE40"/>
          </p15:clr>
        </p15:guide>
        <p15:guide id="7" orient="horz" pos="93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bg>
      <p:bgPr>
        <a:solidFill>
          <a:srgbClr val="D0D3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E5EF343-BC1C-4481-AB08-1FEA749ADFA1}"/>
              </a:ext>
            </a:extLst>
          </p:cNvPr>
          <p:cNvCxnSpPr/>
          <p:nvPr userDrawn="1"/>
        </p:nvCxnSpPr>
        <p:spPr>
          <a:xfrm rot="1200000">
            <a:off x="1109664" y="-409575"/>
            <a:ext cx="0" cy="6850380"/>
          </a:xfrm>
          <a:prstGeom prst="line">
            <a:avLst/>
          </a:prstGeom>
          <a:ln w="25400" cap="sq">
            <a:solidFill>
              <a:srgbClr val="E400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548C306-055E-4E11-A507-A1F28C273740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 dirty="0">
                <a:solidFill>
                  <a:schemeClr val="tx1"/>
                </a:solidFill>
              </a:rPr>
              <a:t>IDWeek 2020™; October 21-25, 2020; Virtu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A343B2-0BB0-4C07-85D9-BE40CD7987FA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EBB7A876-30A6-4294-849D-215C944656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093106"/>
            <a:ext cx="9448800" cy="2469494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  <a:effectLst/>
                <a:latin typeface="+mj-lt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813BAFCA-3624-452E-85A4-8E4C1CBC89CD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640080" cy="184141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B97EE3-F253-4A71-B5C1-6A01EEC062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2510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0" y="1350964"/>
            <a:ext cx="1114425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US" alt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B269CE4D-2347-44B5-ABE1-5082EFF06F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6A834DD-6116-4B73-BBE9-851C2D5E28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2815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C683A308-5D3A-4CA6-AC20-9C72DA27D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1BDFE1-7D83-4C75-AB1F-B7E84E75F7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99A2E9C-1C03-427F-9B0F-714F67A738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650080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672622E9-B50D-4DD4-BEBE-8BF8C87BBD65}"/>
              </a:ext>
            </a:extLst>
          </p:cNvPr>
          <p:cNvSpPr>
            <a:spLocks noGrp="1" noChangeArrowheads="1"/>
          </p:cNvSpPr>
          <p:nvPr>
            <p:ph idx="21"/>
          </p:nvPr>
        </p:nvSpPr>
        <p:spPr bwMode="auto">
          <a:xfrm>
            <a:off x="6469887" y="1341820"/>
            <a:ext cx="5384800" cy="4389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US" altLang="en-US" noProof="0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1" y="1350964"/>
            <a:ext cx="5384800" cy="437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US" alt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31C29-6C0E-4A47-B9A7-C55071F93D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D858B5B0-AA36-4F59-94DC-3FDB416919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573407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2 Columns with 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672622E9-B50D-4DD4-BEBE-8BF8C87BBD65}"/>
              </a:ext>
            </a:extLst>
          </p:cNvPr>
          <p:cNvSpPr>
            <a:spLocks noGrp="1" noChangeArrowheads="1"/>
          </p:cNvSpPr>
          <p:nvPr>
            <p:ph idx="21"/>
          </p:nvPr>
        </p:nvSpPr>
        <p:spPr bwMode="auto">
          <a:xfrm>
            <a:off x="6469887" y="1783080"/>
            <a:ext cx="5384800" cy="39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US" altLang="en-US" noProof="0" dirty="0"/>
          </a:p>
        </p:txBody>
      </p: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1" y="1783080"/>
            <a:ext cx="5384798" cy="39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US" alt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31C29-6C0E-4A47-B9A7-C55071F93D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7245587-433B-4369-BF10-2F4987B1F1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1200" y="1371600"/>
            <a:ext cx="5384799" cy="381000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33319C2-39F1-4EB2-A346-E3025727F84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69888" y="1371600"/>
            <a:ext cx="5384799" cy="381000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DBF9288-11FB-4CAD-85DF-1DB1DD1DF5A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855654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visual +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DF670-0F1E-4B34-A98C-FC23A60B4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1CEE7A-9BCB-401D-ADE3-C49764F2B6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98AEDB1-EAF6-4F1C-B9DE-513484F4DD5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11198" y="1081088"/>
            <a:ext cx="11143488" cy="4608000"/>
          </a:xfrm>
          <a:noFill/>
        </p:spPr>
        <p:txBody>
          <a:bodyPr/>
          <a:lstStyle>
            <a:lvl1pPr algn="ctr">
              <a:defRPr sz="1000" b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Click relevant icon below to add full-page content (eg, image of chart of table). Delete blue comment/caption boxes if not required.</a:t>
            </a:r>
            <a:endParaRPr lang="en-GB" dirty="0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3652455-A371-49E9-8A18-90D2825EBD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196" y="1285875"/>
            <a:ext cx="2924631" cy="1080000"/>
          </a:xfrm>
          <a:custGeom>
            <a:avLst/>
            <a:gdLst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880000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4237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87093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1740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6386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0000" h="1080000">
                <a:moveTo>
                  <a:pt x="0" y="0"/>
                </a:moveTo>
                <a:lnTo>
                  <a:pt x="2880000" y="0"/>
                </a:lnTo>
                <a:lnTo>
                  <a:pt x="2496386" y="1080000"/>
                </a:lnTo>
                <a:lnTo>
                  <a:pt x="0" y="1080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lIns="216000" tIns="180000" rIns="288000" bIns="180000"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pporting text (max 20 words)</a:t>
            </a:r>
            <a:endParaRPr lang="en-GB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25706BE0-1A84-4568-A914-0DF963ADAB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2687" y="5148000"/>
            <a:ext cx="2951999" cy="360001"/>
          </a:xfrm>
          <a:custGeom>
            <a:avLst/>
            <a:gdLst>
              <a:gd name="connsiteX0" fmla="*/ 0 w 2952000"/>
              <a:gd name="connsiteY0" fmla="*/ 0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0 w 2952000"/>
              <a:gd name="connsiteY4" fmla="*/ 0 h 360000"/>
              <a:gd name="connsiteX0" fmla="*/ 128588 w 2952000"/>
              <a:gd name="connsiteY0" fmla="*/ 0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128588 w 2952000"/>
              <a:gd name="connsiteY4" fmla="*/ 0 h 360000"/>
              <a:gd name="connsiteX0" fmla="*/ 133350 w 2952000"/>
              <a:gd name="connsiteY0" fmla="*/ 2381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133350 w 2952000"/>
              <a:gd name="connsiteY4" fmla="*/ 2381 h 360000"/>
              <a:gd name="connsiteX0" fmla="*/ 133350 w 2952000"/>
              <a:gd name="connsiteY0" fmla="*/ 0 h 360001"/>
              <a:gd name="connsiteX1" fmla="*/ 2952000 w 2952000"/>
              <a:gd name="connsiteY1" fmla="*/ 1 h 360001"/>
              <a:gd name="connsiteX2" fmla="*/ 2952000 w 2952000"/>
              <a:gd name="connsiteY2" fmla="*/ 360001 h 360001"/>
              <a:gd name="connsiteX3" fmla="*/ 0 w 2952000"/>
              <a:gd name="connsiteY3" fmla="*/ 360001 h 360001"/>
              <a:gd name="connsiteX4" fmla="*/ 133350 w 2952000"/>
              <a:gd name="connsiteY4" fmla="*/ 0 h 36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2000" h="360001">
                <a:moveTo>
                  <a:pt x="133350" y="0"/>
                </a:moveTo>
                <a:lnTo>
                  <a:pt x="2952000" y="1"/>
                </a:lnTo>
                <a:lnTo>
                  <a:pt x="2952000" y="360001"/>
                </a:lnTo>
                <a:lnTo>
                  <a:pt x="0" y="360001"/>
                </a:lnTo>
                <a:lnTo>
                  <a:pt x="13335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lIns="180000" tIns="0" rIns="216000" anchor="ctr" anchorCtr="0"/>
          <a:lstStyle>
            <a:lvl1pPr algn="r">
              <a:defRPr sz="70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add image caption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1B2302-A57D-40EE-B085-D87F3134DC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7279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68C45ED-4BF9-46B1-82B5-CD4CF1A38C33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6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20750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71D49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C8198AC-B182-444C-B9E0-31ADF85834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93043AE-BFD2-417D-BD26-0E69EEE7F4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7848" y="4041913"/>
            <a:ext cx="9888539" cy="1286370"/>
          </a:xfrm>
          <a:prstGeom prst="rect">
            <a:avLst/>
          </a:prstGeom>
        </p:spPr>
        <p:txBody>
          <a:bodyPr lIns="54000" tIns="0" rIns="0" bIns="0">
            <a:normAutofit/>
          </a:bodyPr>
          <a:lstStyle>
            <a:lvl1pPr marL="0" indent="0">
              <a:buNone/>
              <a:defRPr sz="1800" b="1" spc="-40" baseline="0">
                <a:solidFill>
                  <a:srgbClr val="E4004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Affiliation/job position – use indent one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14424" cy="325985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1177E2D-1600-4F80-BCA2-A1567083DA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346773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490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702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4A0D9-3D7F-4161-89D9-84DBABE62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3E6BB9-3111-4DC0-A200-9E80219C8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484695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5902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4A0D9-3D7F-4161-89D9-84DBABE626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3E6BB9-3111-4DC0-A200-9E80219C8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850" y="365124"/>
            <a:ext cx="9888538" cy="4846956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713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6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276" y="6597878"/>
            <a:ext cx="4919346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9380" y="6597878"/>
            <a:ext cx="5267008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98039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5" y="1592263"/>
            <a:ext cx="10933113" cy="4622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276" y="6597878"/>
            <a:ext cx="4919346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69380" y="6597878"/>
            <a:ext cx="5267008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3896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6" y="1592263"/>
            <a:ext cx="5148000" cy="46228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6C32327-31B3-4425-A977-201C9FADA9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88388" y="1592263"/>
            <a:ext cx="5148000" cy="45735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6" y="6597878"/>
            <a:ext cx="4919346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69380" y="6597878"/>
            <a:ext cx="5267008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904572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A461A907-F581-4AFD-A269-23BE91D06D41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803275" y="1592263"/>
            <a:ext cx="10933113" cy="45735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char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3276" y="6597878"/>
            <a:ext cx="4919346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69380" y="6597878"/>
            <a:ext cx="5267008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1984579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-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0C930-9E52-40D9-B746-8AA483055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65D52E-38D8-4762-B9F9-9EA6D135B7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3275" y="1592263"/>
            <a:ext cx="10933113" cy="46228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None/>
              <a:defRPr sz="900"/>
            </a:lvl1pPr>
            <a:lvl2pPr marL="457200" indent="0">
              <a:buNone/>
              <a:defRPr sz="1100"/>
            </a:lvl2pPr>
            <a:lvl3pPr marL="914400" indent="0">
              <a:buNone/>
              <a:defRPr sz="1100"/>
            </a:lvl3pPr>
            <a:lvl4pPr marL="1371600" indent="0">
              <a:buNone/>
              <a:defRPr sz="1100"/>
            </a:lvl4pPr>
            <a:lvl5pPr marL="1828800" indent="0"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11327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30CB4685-B433-48FF-AE43-428CB33006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3276" y="6597878"/>
            <a:ext cx="4919346" cy="107722"/>
          </a:xfrm>
        </p:spPr>
        <p:txBody>
          <a:bodyPr wrap="square" anchor="b">
            <a:spAutoFit/>
          </a:bodyPr>
          <a:lstStyle>
            <a:lvl1pPr marL="0" indent="0">
              <a:spcBef>
                <a:spcPts val="300"/>
              </a:spcBef>
              <a:buNone/>
              <a:defRPr sz="700"/>
            </a:lvl1pPr>
          </a:lstStyle>
          <a:p>
            <a:pPr lvl="0"/>
            <a:r>
              <a:rPr lang="en-US" dirty="0"/>
              <a:t>Click to add footnotes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9380" y="6597878"/>
            <a:ext cx="5267008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 dirty="0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6044138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Box_Title_Bold Sub_Italic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6300"/>
            <a:ext cx="12192000" cy="254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1117600" y="5574792"/>
            <a:ext cx="8631936" cy="859536"/>
          </a:xfrm>
        </p:spPr>
        <p:txBody>
          <a:bodyPr/>
          <a:lstStyle>
            <a:lvl1pPr marL="0" indent="0">
              <a:buNone/>
              <a:defRPr sz="1200" i="1">
                <a:solidFill>
                  <a:schemeClr val="tx1"/>
                </a:solidFill>
              </a:defRPr>
            </a:lvl1pPr>
            <a:lvl2pPr marL="185738" indent="0">
              <a:buNone/>
              <a:defRPr/>
            </a:lvl2pPr>
            <a:lvl3pPr marL="381000" indent="0">
              <a:buNone/>
              <a:defRPr/>
            </a:lvl3pPr>
            <a:lvl4pPr marL="552450" indent="0">
              <a:buNone/>
              <a:defRPr/>
            </a:lvl4pPr>
            <a:lvl5pPr marL="71596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117600" y="2693988"/>
            <a:ext cx="8636000" cy="147002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1117600" y="4509582"/>
            <a:ext cx="8631936" cy="104692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1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42053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Title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E8E120-53B7-4D12-96B3-D31590D6E9E5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5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711200" y="1371600"/>
            <a:ext cx="11143488" cy="381000"/>
          </a:xfrm>
        </p:spPr>
        <p:txBody>
          <a:bodyPr/>
          <a:lstStyle>
            <a:lvl1pPr marL="0" indent="0">
              <a:buNone/>
              <a:defRPr b="1">
                <a:solidFill>
                  <a:srgbClr val="00879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711200" y="1786128"/>
            <a:ext cx="11143488" cy="40599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7567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624418" y="1062038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0" y="1350963"/>
            <a:ext cx="11176000" cy="449884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 noProof="0" dirty="0"/>
              <a:t>Click to edit Master text styles</a:t>
            </a:r>
          </a:p>
          <a:p>
            <a:pPr lvl="1"/>
            <a:r>
              <a:rPr lang="en-US" altLang="en-US" noProof="0" dirty="0"/>
              <a:t>Second level</a:t>
            </a:r>
          </a:p>
          <a:p>
            <a:pPr lvl="2"/>
            <a:r>
              <a:rPr lang="en-US" altLang="en-US" noProof="0" dirty="0"/>
              <a:t>Third level</a:t>
            </a:r>
          </a:p>
          <a:p>
            <a:pPr lvl="3"/>
            <a:r>
              <a:rPr lang="en-US" altLang="en-US" noProof="0" dirty="0"/>
              <a:t>Fourth level</a:t>
            </a:r>
          </a:p>
          <a:p>
            <a:pPr lvl="4"/>
            <a:r>
              <a:rPr lang="en-US" altLang="en-US" noProof="0" dirty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2" y="152401"/>
            <a:ext cx="10058399" cy="838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0197636" y="6541702"/>
            <a:ext cx="1689565" cy="138499"/>
          </a:xfrm>
        </p:spPr>
        <p:txBody>
          <a:bodyPr wrap="none" anchor="b" anchorCtr="0">
            <a:sp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1" y="6541702"/>
            <a:ext cx="1689565" cy="138499"/>
          </a:xfrm>
        </p:spPr>
        <p:txBody>
          <a:bodyPr wrap="none" anchor="b" anchorCtr="0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47764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Box_Title_Italic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6300"/>
            <a:ext cx="12192000" cy="254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117600" y="2693988"/>
            <a:ext cx="8636000" cy="147002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1117600" y="4511040"/>
            <a:ext cx="8631936" cy="18897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 b="0" i="1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59208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624418" y="1062038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2" y="152401"/>
            <a:ext cx="10058399" cy="838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0196789" y="6541702"/>
            <a:ext cx="1689565" cy="138499"/>
          </a:xfrm>
        </p:spPr>
        <p:txBody>
          <a:bodyPr wrap="none" anchor="b" anchorCtr="0">
            <a:sp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1" y="6541702"/>
            <a:ext cx="1689565" cy="138499"/>
          </a:xfrm>
        </p:spPr>
        <p:txBody>
          <a:bodyPr wrap="none" anchor="b" anchorCtr="0">
            <a:sp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0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83993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624418" y="1062038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0" y="1350963"/>
            <a:ext cx="11144251" cy="4498848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 noProof="0" dirty="0"/>
              <a:t>Click to edit Master text styles</a:t>
            </a:r>
          </a:p>
          <a:p>
            <a:pPr lvl="1"/>
            <a:r>
              <a:rPr lang="en-US" altLang="en-US" noProof="0" dirty="0"/>
              <a:t>Second level</a:t>
            </a:r>
          </a:p>
          <a:p>
            <a:pPr lvl="2"/>
            <a:r>
              <a:rPr lang="en-US" altLang="en-US" noProof="0" dirty="0"/>
              <a:t>Third level</a:t>
            </a:r>
          </a:p>
          <a:p>
            <a:pPr lvl="3"/>
            <a:r>
              <a:rPr lang="en-US" altLang="en-US" noProof="0" dirty="0"/>
              <a:t>Fourth level</a:t>
            </a:r>
          </a:p>
          <a:p>
            <a:pPr lvl="4"/>
            <a:r>
              <a:rPr lang="en-US" altLang="en-US" noProof="0" dirty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2" y="152401"/>
            <a:ext cx="10058399" cy="8382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1854233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0" y="1350964"/>
            <a:ext cx="1114425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 dirty="0"/>
              <a:t>Click to edit Master text styles</a:t>
            </a:r>
          </a:p>
          <a:p>
            <a:pPr lvl="1"/>
            <a:r>
              <a:rPr lang="en-US" altLang="en-US" noProof="0" dirty="0"/>
              <a:t>Second level</a:t>
            </a:r>
          </a:p>
          <a:p>
            <a:pPr lvl="2"/>
            <a:r>
              <a:rPr lang="en-US" altLang="en-US" noProof="0" dirty="0"/>
              <a:t>Third level</a:t>
            </a:r>
          </a:p>
          <a:p>
            <a:pPr lvl="3"/>
            <a:r>
              <a:rPr lang="en-US" altLang="en-US" noProof="0" dirty="0"/>
              <a:t>Fourth level</a:t>
            </a:r>
          </a:p>
          <a:p>
            <a:pPr lvl="4"/>
            <a:r>
              <a:rPr lang="en-US" altLang="en-US" noProof="0" dirty="0"/>
              <a:t>Fifth level</a:t>
            </a:r>
          </a:p>
          <a:p>
            <a:pPr lvl="4"/>
            <a:endParaRPr lang="en-US" altLang="en-US" noProof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B269CE4D-2347-44B5-ABE1-5082EFF06F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6A834DD-6116-4B73-BBE9-851C2D5E28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977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- Gray">
    <p:bg>
      <p:bgPr>
        <a:solidFill>
          <a:srgbClr val="D0D3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>
            <a:extLst>
              <a:ext uri="{FF2B5EF4-FFF2-40B4-BE49-F238E27FC236}">
                <a16:creationId xmlns:a16="http://schemas.microsoft.com/office/drawing/2014/main" id="{0EFCFACB-866A-455B-8F69-93CD9F3D3D6E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1483292" cy="42672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F645C7C-F0D4-4F5C-8D68-FB851D5670AC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>
                <a:solidFill>
                  <a:schemeClr val="tx1"/>
                </a:solidFill>
              </a:rPr>
              <a:t>19th European AIDS Conference; October 18-21, 2023; Warsaw, Poland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5A9598-132B-4791-AA81-8424EC568A8B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rgbClr val="071D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3951345F-605B-4B05-8202-DE3B46F9CD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7280" y="1828800"/>
            <a:ext cx="9144000" cy="256032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  <a:effectLst/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9680979-CC01-4E77-8530-905039B45F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7280" y="4572000"/>
            <a:ext cx="9144000" cy="908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 b="1" i="0">
                <a:solidFill>
                  <a:schemeClr val="tx2"/>
                </a:solidFill>
                <a:effectLst/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0F6C3D1-ED36-45A1-94EC-A543584321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5303520"/>
            <a:ext cx="9144000" cy="859536"/>
          </a:xfrm>
        </p:spPr>
        <p:txBody>
          <a:bodyPr/>
          <a:lstStyle>
            <a:lvl1pPr marL="0" indent="0">
              <a:buNone/>
              <a:defRPr sz="1150" i="1">
                <a:solidFill>
                  <a:schemeClr val="tx1"/>
                </a:solidFill>
              </a:defRPr>
            </a:lvl1pPr>
            <a:lvl2pPr marL="247644" indent="0">
              <a:buNone/>
              <a:defRPr/>
            </a:lvl2pPr>
            <a:lvl3pPr marL="507987" indent="0">
              <a:buNone/>
              <a:defRPr/>
            </a:lvl3pPr>
            <a:lvl4pPr marL="736582" indent="0">
              <a:buNone/>
              <a:defRPr/>
            </a:lvl4pPr>
            <a:lvl5pPr marL="95459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90AADF-112C-4300-8D1F-49B825951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485899" cy="434647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4A26AA8-F4E3-4A4A-55DC-967CA09DB6C9}"/>
              </a:ext>
            </a:extLst>
          </p:cNvPr>
          <p:cNvSpPr txBox="1"/>
          <p:nvPr userDrawn="1"/>
        </p:nvSpPr>
        <p:spPr bwMode="auto">
          <a:xfrm>
            <a:off x="8915400" y="-13855"/>
            <a:ext cx="414086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ES_tradnl" sz="1050" kern="0" dirty="0"/>
              <a:t>Uso exclusivo Dto. Médico. No usar en promoción</a:t>
            </a:r>
          </a:p>
        </p:txBody>
      </p:sp>
    </p:spTree>
    <p:extLst>
      <p:ext uri="{BB962C8B-B14F-4D97-AF65-F5344CB8AC3E}">
        <p14:creationId xmlns:p14="http://schemas.microsoft.com/office/powerpoint/2010/main" val="370653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93">
          <p15:clr>
            <a:srgbClr val="FBAE40"/>
          </p15:clr>
        </p15:guide>
        <p15:guide id="4" pos="561">
          <p15:clr>
            <a:srgbClr val="FBAE40"/>
          </p15:clr>
        </p15:guide>
        <p15:guide id="5" orient="horz" pos="4032">
          <p15:clr>
            <a:srgbClr val="FBAE40"/>
          </p15:clr>
        </p15:guide>
        <p15:guide id="6" orient="horz" pos="4159">
          <p15:clr>
            <a:srgbClr val="FBAE40"/>
          </p15:clr>
        </p15:guide>
        <p15:guide id="7" orient="horz" pos="93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With Image">
    <p:bg>
      <p:bgPr>
        <a:solidFill>
          <a:srgbClr val="D0D3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>
            <a:extLst>
              <a:ext uri="{FF2B5EF4-FFF2-40B4-BE49-F238E27FC236}">
                <a16:creationId xmlns:a16="http://schemas.microsoft.com/office/drawing/2014/main" id="{0EFCFACB-866A-455B-8F69-93CD9F3D3D6E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1483292" cy="426720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5A9598-132B-4791-AA81-8424EC568A8B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rgbClr val="071D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>
            <a:extLst>
              <a:ext uri="{FF2B5EF4-FFF2-40B4-BE49-F238E27FC236}">
                <a16:creationId xmlns:a16="http://schemas.microsoft.com/office/drawing/2014/main" id="{3951345F-605B-4B05-8202-DE3B46F9CDE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7280" y="1280160"/>
            <a:ext cx="5146970" cy="237744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  <a:effectLst/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79680979-CC01-4E77-8530-905039B45F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97280" y="3625372"/>
            <a:ext cx="468977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 b="1" i="0">
                <a:solidFill>
                  <a:schemeClr val="tx2"/>
                </a:solidFill>
                <a:effectLst/>
                <a:latin typeface="Arial"/>
                <a:cs typeface="Arial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0F6C3D1-ED36-45A1-94EC-A543584321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7280" y="4551964"/>
            <a:ext cx="4384970" cy="914400"/>
          </a:xfrm>
        </p:spPr>
        <p:txBody>
          <a:bodyPr/>
          <a:lstStyle>
            <a:lvl1pPr marL="0" indent="0">
              <a:buNone/>
              <a:defRPr sz="1150" i="1">
                <a:solidFill>
                  <a:schemeClr val="tx1"/>
                </a:solidFill>
              </a:defRPr>
            </a:lvl1pPr>
            <a:lvl2pPr marL="247644" indent="0">
              <a:buNone/>
              <a:defRPr/>
            </a:lvl2pPr>
            <a:lvl3pPr marL="507987" indent="0">
              <a:buNone/>
              <a:defRPr/>
            </a:lvl3pPr>
            <a:lvl4pPr marL="736582" indent="0">
              <a:buNone/>
              <a:defRPr/>
            </a:lvl4pPr>
            <a:lvl5pPr marL="95459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90AADF-112C-4300-8D1F-49B825951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485899" cy="4346471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E36D134-E6A1-41AE-8FE0-43649CB944B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891590" y="0"/>
            <a:ext cx="7300410" cy="6858000"/>
          </a:xfrm>
          <a:custGeom>
            <a:avLst/>
            <a:gdLst>
              <a:gd name="connsiteX0" fmla="*/ 0 w 4795335"/>
              <a:gd name="connsiteY0" fmla="*/ 0 h 6858000"/>
              <a:gd name="connsiteX1" fmla="*/ 4795335 w 4795335"/>
              <a:gd name="connsiteY1" fmla="*/ 0 h 6858000"/>
              <a:gd name="connsiteX2" fmla="*/ 4795335 w 4795335"/>
              <a:gd name="connsiteY2" fmla="*/ 6858000 h 6858000"/>
              <a:gd name="connsiteX3" fmla="*/ 0 w 4795335"/>
              <a:gd name="connsiteY3" fmla="*/ 6858000 h 6858000"/>
              <a:gd name="connsiteX4" fmla="*/ 0 w 4795335"/>
              <a:gd name="connsiteY4" fmla="*/ 0 h 6858000"/>
              <a:gd name="connsiteX0" fmla="*/ 2505075 w 7300410"/>
              <a:gd name="connsiteY0" fmla="*/ 0 h 6858000"/>
              <a:gd name="connsiteX1" fmla="*/ 7300410 w 7300410"/>
              <a:gd name="connsiteY1" fmla="*/ 0 h 6858000"/>
              <a:gd name="connsiteX2" fmla="*/ 7300410 w 7300410"/>
              <a:gd name="connsiteY2" fmla="*/ 6858000 h 6858000"/>
              <a:gd name="connsiteX3" fmla="*/ 0 w 7300410"/>
              <a:gd name="connsiteY3" fmla="*/ 6858000 h 6858000"/>
              <a:gd name="connsiteX4" fmla="*/ 2505075 w 730041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00410" h="6858000">
                <a:moveTo>
                  <a:pt x="2505075" y="0"/>
                </a:moveTo>
                <a:lnTo>
                  <a:pt x="7300410" y="0"/>
                </a:lnTo>
                <a:lnTo>
                  <a:pt x="7300410" y="6858000"/>
                </a:lnTo>
                <a:lnTo>
                  <a:pt x="0" y="6858000"/>
                </a:lnTo>
                <a:lnTo>
                  <a:pt x="2505075" y="0"/>
                </a:lnTo>
                <a:close/>
              </a:path>
            </a:pathLst>
          </a:custGeom>
          <a:noFill/>
        </p:spPr>
        <p:txBody>
          <a:bodyPr anchor="ctr" anchorCtr="0"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imag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CDEBF4DA-FDF0-4CF3-BFF1-27088EC0F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0475" y="6599238"/>
            <a:ext cx="5203825" cy="10800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  <a:lvl2pPr marL="457200" indent="0">
              <a:buNone/>
              <a:defRPr sz="700">
                <a:solidFill>
                  <a:schemeClr val="accent2"/>
                </a:solidFill>
              </a:defRPr>
            </a:lvl2pPr>
            <a:lvl3pPr marL="914400" indent="0">
              <a:buNone/>
              <a:defRPr sz="700">
                <a:solidFill>
                  <a:schemeClr val="accent2"/>
                </a:solidFill>
              </a:defRPr>
            </a:lvl3pPr>
            <a:lvl4pPr marL="1371600" indent="0">
              <a:buNone/>
              <a:defRPr sz="700">
                <a:solidFill>
                  <a:schemeClr val="accent2"/>
                </a:solidFill>
              </a:defRPr>
            </a:lvl4pPr>
            <a:lvl5pPr marL="1828800" indent="0">
              <a:buNone/>
              <a:defRPr sz="7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photo disclaimer</a:t>
            </a:r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DB515A5-F9AF-481A-8BF4-A7EAA88AA044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4339557" cy="181866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>
                <a:solidFill>
                  <a:schemeClr val="tx1"/>
                </a:solidFill>
              </a:rPr>
              <a:t>19th European AIDS Conference; October 18-21, 2023; Warsaw, Polan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DD8AD5-7641-AEE6-ADA4-EF48A64AC18E}"/>
              </a:ext>
            </a:extLst>
          </p:cNvPr>
          <p:cNvSpPr txBox="1"/>
          <p:nvPr userDrawn="1"/>
        </p:nvSpPr>
        <p:spPr bwMode="auto">
          <a:xfrm>
            <a:off x="8915400" y="-13855"/>
            <a:ext cx="414086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ES_tradnl" sz="1050" kern="0" dirty="0"/>
              <a:t>Uso exclusivo Dto. Médico. No usar en promoción</a:t>
            </a:r>
          </a:p>
        </p:txBody>
      </p:sp>
    </p:spTree>
    <p:extLst>
      <p:ext uri="{BB962C8B-B14F-4D97-AF65-F5344CB8AC3E}">
        <p14:creationId xmlns:p14="http://schemas.microsoft.com/office/powerpoint/2010/main" val="2902843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693">
          <p15:clr>
            <a:srgbClr val="FBAE40"/>
          </p15:clr>
        </p15:guide>
        <p15:guide id="4" pos="561">
          <p15:clr>
            <a:srgbClr val="FBAE40"/>
          </p15:clr>
        </p15:guide>
        <p15:guide id="5" orient="horz" pos="4032">
          <p15:clr>
            <a:srgbClr val="FBAE40"/>
          </p15:clr>
        </p15:guide>
        <p15:guide id="6" orient="horz" pos="4159">
          <p15:clr>
            <a:srgbClr val="FBAE40"/>
          </p15:clr>
        </p15:guide>
        <p15:guide id="7" orient="horz" pos="93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ay">
    <p:bg>
      <p:bgPr>
        <a:solidFill>
          <a:srgbClr val="D0D3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E5EF343-BC1C-4481-AB08-1FEA749ADFA1}"/>
              </a:ext>
            </a:extLst>
          </p:cNvPr>
          <p:cNvCxnSpPr/>
          <p:nvPr userDrawn="1"/>
        </p:nvCxnSpPr>
        <p:spPr>
          <a:xfrm rot="1200000">
            <a:off x="1109664" y="-409575"/>
            <a:ext cx="0" cy="6850380"/>
          </a:xfrm>
          <a:prstGeom prst="line">
            <a:avLst/>
          </a:prstGeom>
          <a:ln w="25400" cap="sq">
            <a:solidFill>
              <a:srgbClr val="E400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548C306-055E-4E11-A507-A1F28C273740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>
                <a:solidFill>
                  <a:schemeClr val="tx1"/>
                </a:solidFill>
              </a:rPr>
              <a:t>19th European AIDS Conference; October 18-21, 2023; Warsaw, Poland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A343B2-0BB0-4C07-85D9-BE40CD7987FA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EBB7A876-30A6-4294-849D-215C944656A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19200" y="3093106"/>
            <a:ext cx="9448800" cy="2469494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400" b="1">
                <a:solidFill>
                  <a:schemeClr val="tx1"/>
                </a:solidFill>
                <a:effectLst/>
                <a:latin typeface="+mj-lt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813BAFCA-3624-452E-85A4-8E4C1CBC89CD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640080" cy="184141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B97EE3-F253-4A71-B5C1-6A01EEC062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8ADD2FD-395D-566D-B25A-DC15B8A393BD}"/>
              </a:ext>
            </a:extLst>
          </p:cNvPr>
          <p:cNvSpPr txBox="1"/>
          <p:nvPr userDrawn="1"/>
        </p:nvSpPr>
        <p:spPr bwMode="auto">
          <a:xfrm>
            <a:off x="8915400" y="-13855"/>
            <a:ext cx="414086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ES_tradnl" sz="1050" kern="0" dirty="0"/>
              <a:t>Uso exclusivo Dto. Médico. No usar en promoción</a:t>
            </a:r>
          </a:p>
        </p:txBody>
      </p:sp>
    </p:spTree>
    <p:extLst>
      <p:ext uri="{BB962C8B-B14F-4D97-AF65-F5344CB8AC3E}">
        <p14:creationId xmlns:p14="http://schemas.microsoft.com/office/powerpoint/2010/main" val="20415854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0" y="1350964"/>
            <a:ext cx="1114425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  <a:p>
            <a:pPr lvl="4"/>
            <a:endParaRPr lang="en-US" alt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B269CE4D-2347-44B5-ABE1-5082EFF06F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6A834DD-6116-4B73-BBE9-851C2D5E28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5551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C683A308-5D3A-4CA6-AC20-9C72DA27D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D1BDFE1-7D83-4C75-AB1F-B7E84E75F7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99A2E9C-1C03-427F-9B0F-714F67A738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925477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632DC9F-7E65-4CE0-9B36-CAE075AA3223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6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11201" y="1350963"/>
            <a:ext cx="5364480" cy="44988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6"/>
          </p:nvPr>
        </p:nvSpPr>
        <p:spPr>
          <a:xfrm>
            <a:off x="6490208" y="1350963"/>
            <a:ext cx="5364480" cy="44988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69417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672622E9-B50D-4DD4-BEBE-8BF8C87BBD65}"/>
              </a:ext>
            </a:extLst>
          </p:cNvPr>
          <p:cNvSpPr>
            <a:spLocks noGrp="1" noChangeArrowheads="1"/>
          </p:cNvSpPr>
          <p:nvPr>
            <p:ph idx="21"/>
          </p:nvPr>
        </p:nvSpPr>
        <p:spPr bwMode="auto">
          <a:xfrm>
            <a:off x="6469887" y="1341820"/>
            <a:ext cx="5384800" cy="4389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  <a:p>
            <a:pPr lvl="4"/>
            <a:endParaRPr lang="en-US" altLang="en-US" noProof="0"/>
          </a:p>
        </p:txBody>
      </p: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1" y="1350964"/>
            <a:ext cx="5384800" cy="437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  <a:p>
            <a:pPr lvl="4"/>
            <a:endParaRPr lang="en-US" alt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31C29-6C0E-4A47-B9A7-C55071F93D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D858B5B0-AA36-4F59-94DC-3FDB416919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12211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ntent 2 Columns with 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>
            <a:extLst>
              <a:ext uri="{FF2B5EF4-FFF2-40B4-BE49-F238E27FC236}">
                <a16:creationId xmlns:a16="http://schemas.microsoft.com/office/drawing/2014/main" id="{672622E9-B50D-4DD4-BEBE-8BF8C87BBD65}"/>
              </a:ext>
            </a:extLst>
          </p:cNvPr>
          <p:cNvSpPr>
            <a:spLocks noGrp="1" noChangeArrowheads="1"/>
          </p:cNvSpPr>
          <p:nvPr>
            <p:ph idx="21"/>
          </p:nvPr>
        </p:nvSpPr>
        <p:spPr bwMode="auto">
          <a:xfrm>
            <a:off x="6469887" y="1783080"/>
            <a:ext cx="5384800" cy="39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  <a:p>
            <a:pPr lvl="4"/>
            <a:endParaRPr lang="en-US" altLang="en-US" noProof="0"/>
          </a:p>
        </p:txBody>
      </p:sp>
      <p:sp>
        <p:nvSpPr>
          <p:cNvPr id="11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711201" y="1783080"/>
            <a:ext cx="5384798" cy="39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  <a:p>
            <a:pPr lvl="4"/>
            <a:endParaRPr lang="en-US" alt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FCAB574-D00F-404B-99A4-2638A1E732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5E20FFAB-DF01-48B8-AAF8-D9E9981965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31C29-6C0E-4A47-B9A7-C55071F93D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7245587-433B-4369-BF10-2F4987B1F1E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1200" y="1371600"/>
            <a:ext cx="5384799" cy="381000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33319C2-39F1-4EB2-A346-E3025727F84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69888" y="1371600"/>
            <a:ext cx="5384799" cy="381000"/>
          </a:xfrm>
        </p:spPr>
        <p:txBody>
          <a:bodyPr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2">
            <a:extLst>
              <a:ext uri="{FF2B5EF4-FFF2-40B4-BE49-F238E27FC236}">
                <a16:creationId xmlns:a16="http://schemas.microsoft.com/office/drawing/2014/main" id="{6DBF9288-11FB-4CAD-85DF-1DB1DD1DF5A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93051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3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visual +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7DF670-0F1E-4B34-A98C-FC23A60B4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1CEE7A-9BCB-401D-ADE3-C49764F2B6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98AEDB1-EAF6-4F1C-B9DE-513484F4DD5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711198" y="1081088"/>
            <a:ext cx="11143488" cy="4608000"/>
          </a:xfrm>
          <a:noFill/>
        </p:spPr>
        <p:txBody>
          <a:bodyPr/>
          <a:lstStyle>
            <a:lvl1pPr algn="ctr">
              <a:defRPr sz="1000" b="1" baseline="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Click relevant icon below to add full-page content (eg, image of chart of table). Delete blue comment/caption boxes if not required.</a:t>
            </a:r>
            <a:endParaRPr lang="en-GB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93652455-A371-49E9-8A18-90D2825EBD1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1196" y="1285875"/>
            <a:ext cx="2924631" cy="1080000"/>
          </a:xfrm>
          <a:custGeom>
            <a:avLst/>
            <a:gdLst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880000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4237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87093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1740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  <a:gd name="connsiteX0" fmla="*/ 0 w 2880000"/>
              <a:gd name="connsiteY0" fmla="*/ 0 h 1080000"/>
              <a:gd name="connsiteX1" fmla="*/ 2880000 w 2880000"/>
              <a:gd name="connsiteY1" fmla="*/ 0 h 1080000"/>
              <a:gd name="connsiteX2" fmla="*/ 2496386 w 2880000"/>
              <a:gd name="connsiteY2" fmla="*/ 1080000 h 1080000"/>
              <a:gd name="connsiteX3" fmla="*/ 0 w 2880000"/>
              <a:gd name="connsiteY3" fmla="*/ 1080000 h 1080000"/>
              <a:gd name="connsiteX4" fmla="*/ 0 w 2880000"/>
              <a:gd name="connsiteY4" fmla="*/ 0 h 10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0000" h="1080000">
                <a:moveTo>
                  <a:pt x="0" y="0"/>
                </a:moveTo>
                <a:lnTo>
                  <a:pt x="2880000" y="0"/>
                </a:lnTo>
                <a:lnTo>
                  <a:pt x="2496386" y="1080000"/>
                </a:lnTo>
                <a:lnTo>
                  <a:pt x="0" y="1080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lIns="216000" tIns="180000" rIns="288000" bIns="180000" anchor="ctr" anchorCtr="0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supporting text (max 20 words)</a:t>
            </a:r>
            <a:endParaRPr lang="en-GB"/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25706BE0-1A84-4568-A914-0DF963ADAB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2687" y="5148000"/>
            <a:ext cx="2951999" cy="360001"/>
          </a:xfrm>
          <a:custGeom>
            <a:avLst/>
            <a:gdLst>
              <a:gd name="connsiteX0" fmla="*/ 0 w 2952000"/>
              <a:gd name="connsiteY0" fmla="*/ 0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0 w 2952000"/>
              <a:gd name="connsiteY4" fmla="*/ 0 h 360000"/>
              <a:gd name="connsiteX0" fmla="*/ 128588 w 2952000"/>
              <a:gd name="connsiteY0" fmla="*/ 0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128588 w 2952000"/>
              <a:gd name="connsiteY4" fmla="*/ 0 h 360000"/>
              <a:gd name="connsiteX0" fmla="*/ 133350 w 2952000"/>
              <a:gd name="connsiteY0" fmla="*/ 2381 h 360000"/>
              <a:gd name="connsiteX1" fmla="*/ 2952000 w 2952000"/>
              <a:gd name="connsiteY1" fmla="*/ 0 h 360000"/>
              <a:gd name="connsiteX2" fmla="*/ 2952000 w 2952000"/>
              <a:gd name="connsiteY2" fmla="*/ 360000 h 360000"/>
              <a:gd name="connsiteX3" fmla="*/ 0 w 2952000"/>
              <a:gd name="connsiteY3" fmla="*/ 360000 h 360000"/>
              <a:gd name="connsiteX4" fmla="*/ 133350 w 2952000"/>
              <a:gd name="connsiteY4" fmla="*/ 2381 h 360000"/>
              <a:gd name="connsiteX0" fmla="*/ 133350 w 2952000"/>
              <a:gd name="connsiteY0" fmla="*/ 0 h 360001"/>
              <a:gd name="connsiteX1" fmla="*/ 2952000 w 2952000"/>
              <a:gd name="connsiteY1" fmla="*/ 1 h 360001"/>
              <a:gd name="connsiteX2" fmla="*/ 2952000 w 2952000"/>
              <a:gd name="connsiteY2" fmla="*/ 360001 h 360001"/>
              <a:gd name="connsiteX3" fmla="*/ 0 w 2952000"/>
              <a:gd name="connsiteY3" fmla="*/ 360001 h 360001"/>
              <a:gd name="connsiteX4" fmla="*/ 133350 w 2952000"/>
              <a:gd name="connsiteY4" fmla="*/ 0 h 36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52000" h="360001">
                <a:moveTo>
                  <a:pt x="133350" y="0"/>
                </a:moveTo>
                <a:lnTo>
                  <a:pt x="2952000" y="1"/>
                </a:lnTo>
                <a:lnTo>
                  <a:pt x="2952000" y="360001"/>
                </a:lnTo>
                <a:lnTo>
                  <a:pt x="0" y="360001"/>
                </a:lnTo>
                <a:lnTo>
                  <a:pt x="13335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lIns="180000" tIns="0" rIns="216000" anchor="ctr" anchorCtr="0"/>
          <a:lstStyle>
            <a:lvl1pPr algn="r">
              <a:defRPr sz="700">
                <a:solidFill>
                  <a:schemeClr val="bg1"/>
                </a:solidFill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Click to add image caption</a:t>
            </a:r>
            <a:endParaRPr lang="en-GB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51B2302-A57D-40EE-B085-D87F3134DCB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1200" y="5759112"/>
            <a:ext cx="11143488" cy="304769"/>
          </a:xfrm>
        </p:spPr>
        <p:txBody>
          <a:bodyPr anchor="b"/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800" kern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lang="en-US" sz="900" kern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9444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1040" y="1447801"/>
            <a:ext cx="10789920" cy="2003425"/>
          </a:xfrm>
        </p:spPr>
        <p:txBody>
          <a:bodyPr/>
          <a:lstStyle>
            <a:lvl1pPr>
              <a:defRPr sz="36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3886200"/>
            <a:ext cx="9753600" cy="1066800"/>
          </a:xfrm>
        </p:spPr>
        <p:txBody>
          <a:bodyPr/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19200" y="5029200"/>
            <a:ext cx="9753600" cy="1066800"/>
          </a:xfrm>
          <a:noFill/>
        </p:spPr>
        <p:txBody>
          <a:bodyPr/>
          <a:lstStyle>
            <a:lvl1pPr marL="0" indent="0" algn="ctr">
              <a:buNone/>
              <a:defRPr sz="1600" i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86199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701039" y="5486400"/>
            <a:ext cx="10789919" cy="574088"/>
          </a:xfrm>
        </p:spPr>
        <p:txBody>
          <a:bodyPr anchor="b"/>
          <a:lstStyle>
            <a:lvl1pPr marL="0" indent="0" algn="l">
              <a:buNone/>
              <a:defRPr sz="800">
                <a:solidFill>
                  <a:schemeClr val="tx1"/>
                </a:solidFill>
              </a:defRPr>
            </a:lvl1pPr>
            <a:lvl2pPr marL="259715" indent="0" algn="l">
              <a:buNone/>
              <a:defRPr/>
            </a:lvl2pPr>
            <a:lvl3pPr marL="550926" indent="0" algn="l">
              <a:buNone/>
              <a:defRPr/>
            </a:lvl3pPr>
            <a:lvl4pPr marL="723074" indent="0" algn="l">
              <a:buNone/>
              <a:defRPr/>
            </a:lvl4pPr>
            <a:lvl5pPr marL="898398" indent="0" algn="l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/>
          </p:nvPr>
        </p:nvSpPr>
        <p:spPr>
          <a:xfrm>
            <a:off x="701040" y="1143000"/>
            <a:ext cx="10789920" cy="45262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1040" y="152400"/>
            <a:ext cx="10789920" cy="86868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E6105DF-27A9-49D1-A612-232BFDB5BD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05400" y="6409677"/>
            <a:ext cx="6385558" cy="219723"/>
          </a:xfrm>
        </p:spPr>
        <p:txBody>
          <a:bodyPr/>
          <a:lstStyle>
            <a:lvl1pPr marL="0" indent="0" algn="r">
              <a:buNone/>
              <a:defRPr sz="800">
                <a:solidFill>
                  <a:schemeClr val="tx1"/>
                </a:solidFill>
              </a:defRPr>
            </a:lvl1pPr>
            <a:lvl2pPr marL="259715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672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607E76-D109-4B4F-A9D7-34EF7DECE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2DCD9-8769-4ED5-B8CC-B00FC588BA8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9660AC6-B11A-4D39-B0FE-D05D7C4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2541" y="6597878"/>
            <a:ext cx="5523847" cy="107722"/>
          </a:xfrm>
        </p:spPr>
        <p:txBody>
          <a:bodyPr wrap="square" anchor="b">
            <a:spAutoFit/>
          </a:bodyPr>
          <a:lstStyle>
            <a:lvl1pPr marL="0" indent="0" algn="r">
              <a:spcBef>
                <a:spcPts val="0"/>
              </a:spcBef>
              <a:buNone/>
              <a:defRPr sz="700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n-US"/>
              <a:t>Click to add references</a:t>
            </a:r>
          </a:p>
        </p:txBody>
      </p:sp>
    </p:spTree>
    <p:extLst>
      <p:ext uri="{BB962C8B-B14F-4D97-AF65-F5344CB8AC3E}">
        <p14:creationId xmlns:p14="http://schemas.microsoft.com/office/powerpoint/2010/main" val="3006041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2Col Content_Teal Su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EB6BE09-FB01-47F6-9E64-D7966CB508D5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6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711201" y="1786128"/>
            <a:ext cx="5364480" cy="405993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711201" y="1371600"/>
            <a:ext cx="5364480" cy="381000"/>
          </a:xfrm>
        </p:spPr>
        <p:txBody>
          <a:bodyPr/>
          <a:lstStyle>
            <a:lvl1pPr marL="0" indent="0">
              <a:buNone/>
              <a:defRPr b="1">
                <a:solidFill>
                  <a:srgbClr val="00879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/>
          </p:nvPr>
        </p:nvSpPr>
        <p:spPr>
          <a:xfrm>
            <a:off x="6490208" y="1786128"/>
            <a:ext cx="5364480" cy="405993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490208" y="1371600"/>
            <a:ext cx="5364480" cy="381000"/>
          </a:xfrm>
        </p:spPr>
        <p:txBody>
          <a:bodyPr/>
          <a:lstStyle>
            <a:lvl1pPr marL="0" indent="0">
              <a:buNone/>
              <a:defRPr b="1">
                <a:solidFill>
                  <a:srgbClr val="00879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351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3C42625-94DB-4ED3-811D-E65B4E16846C}"/>
              </a:ext>
            </a:extLst>
          </p:cNvPr>
          <p:cNvCxnSpPr/>
          <p:nvPr userDrawn="1"/>
        </p:nvCxnSpPr>
        <p:spPr>
          <a:xfrm>
            <a:off x="624421" y="1062567"/>
            <a:ext cx="11567583" cy="0"/>
          </a:xfrm>
          <a:prstGeom prst="line">
            <a:avLst/>
          </a:prstGeom>
          <a:ln w="25400">
            <a:solidFill>
              <a:srgbClr val="E318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1206" y="152401"/>
            <a:ext cx="10058399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711201" y="1371600"/>
            <a:ext cx="11143488" cy="457200"/>
          </a:xfrm>
        </p:spPr>
        <p:txBody>
          <a:bodyPr/>
          <a:lstStyle>
            <a:lvl1pPr marL="0" indent="0">
              <a:buNone/>
              <a:defRPr sz="1800" b="1">
                <a:solidFill>
                  <a:srgbClr val="00879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711200" y="6294120"/>
            <a:ext cx="11143488" cy="182880"/>
          </a:xfrm>
        </p:spPr>
        <p:txBody>
          <a:bodyPr/>
          <a:lstStyle>
            <a:lvl1pPr marL="0" indent="0" algn="r">
              <a:buNone/>
              <a:defRPr sz="7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11200" y="5862320"/>
            <a:ext cx="11143488" cy="365760"/>
          </a:xfrm>
        </p:spPr>
        <p:txBody>
          <a:bodyPr anchor="b"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838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3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52.xml"/><Relationship Id="rId21" Type="http://schemas.openxmlformats.org/officeDocument/2006/relationships/image" Target="../media/image8.png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7.xml"/><Relationship Id="rId20" Type="http://schemas.openxmlformats.org/officeDocument/2006/relationships/image" Target="../media/image13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image" Target="../media/image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8F2F8FAE-334F-46C5-8D22-FE10DFCB950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200" y="152400"/>
            <a:ext cx="1005840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D67C4009-B31E-485F-9150-852099D1A5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1" y="1350436"/>
            <a:ext cx="11144251" cy="451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29" name="Picture 6">
            <a:extLst>
              <a:ext uri="{FF2B5EF4-FFF2-40B4-BE49-F238E27FC236}">
                <a16:creationId xmlns:a16="http://schemas.microsoft.com/office/drawing/2014/main" id="{88417A58-D9F2-4A6E-A7AE-CB84F3C1FC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68534"/>
            <a:ext cx="12192000" cy="389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09347C5B-6607-4E4C-815F-783DED22D6C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8317" y="6491819"/>
            <a:ext cx="1201208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en-GB" sz="800" b="1" dirty="0"/>
              <a:t>Conference on Retroviruses and Opportunistic Infections; March 4–7, 2019; Seattle, WA</a:t>
            </a:r>
          </a:p>
        </p:txBody>
      </p:sp>
    </p:spTree>
    <p:extLst>
      <p:ext uri="{BB962C8B-B14F-4D97-AF65-F5344CB8AC3E}">
        <p14:creationId xmlns:p14="http://schemas.microsoft.com/office/powerpoint/2010/main" val="416087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</p:sldLayoutIdLst>
  <p:txStyles>
    <p:titleStyle>
      <a:lvl1pPr algn="l" rtl="0" eaLnBrk="0" fontAlgn="base" hangingPunct="0">
        <a:lnSpc>
          <a:spcPts val="3500"/>
        </a:lnSpc>
        <a:spcBef>
          <a:spcPct val="0"/>
        </a:spcBef>
        <a:spcAft>
          <a:spcPct val="0"/>
        </a:spcAft>
        <a:defRPr sz="2400" b="1">
          <a:solidFill>
            <a:srgbClr val="E3183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ts val="3500"/>
        </a:lnSpc>
        <a:spcBef>
          <a:spcPct val="0"/>
        </a:spcBef>
        <a:spcAft>
          <a:spcPct val="0"/>
        </a:spcAft>
        <a:defRPr sz="2400" b="1">
          <a:solidFill>
            <a:srgbClr val="E31836"/>
          </a:solidFill>
          <a:latin typeface="Arial" pitchFamily="34" charset="0"/>
          <a:cs typeface="Arial" charset="0"/>
        </a:defRPr>
      </a:lvl2pPr>
      <a:lvl3pPr algn="l" rtl="0" eaLnBrk="0" fontAlgn="base" hangingPunct="0">
        <a:lnSpc>
          <a:spcPts val="3500"/>
        </a:lnSpc>
        <a:spcBef>
          <a:spcPct val="0"/>
        </a:spcBef>
        <a:spcAft>
          <a:spcPct val="0"/>
        </a:spcAft>
        <a:defRPr sz="2400" b="1">
          <a:solidFill>
            <a:srgbClr val="E31836"/>
          </a:solidFill>
          <a:latin typeface="Arial" pitchFamily="34" charset="0"/>
          <a:cs typeface="Arial" charset="0"/>
        </a:defRPr>
      </a:lvl3pPr>
      <a:lvl4pPr algn="l" rtl="0" eaLnBrk="0" fontAlgn="base" hangingPunct="0">
        <a:lnSpc>
          <a:spcPts val="3500"/>
        </a:lnSpc>
        <a:spcBef>
          <a:spcPct val="0"/>
        </a:spcBef>
        <a:spcAft>
          <a:spcPct val="0"/>
        </a:spcAft>
        <a:defRPr sz="2400" b="1">
          <a:solidFill>
            <a:srgbClr val="E31836"/>
          </a:solidFill>
          <a:latin typeface="Arial" pitchFamily="34" charset="0"/>
          <a:cs typeface="Arial" charset="0"/>
        </a:defRPr>
      </a:lvl4pPr>
      <a:lvl5pPr algn="l" rtl="0" eaLnBrk="0" fontAlgn="base" hangingPunct="0">
        <a:lnSpc>
          <a:spcPts val="3500"/>
        </a:lnSpc>
        <a:spcBef>
          <a:spcPct val="0"/>
        </a:spcBef>
        <a:spcAft>
          <a:spcPct val="0"/>
        </a:spcAft>
        <a:defRPr sz="2400" b="1">
          <a:solidFill>
            <a:srgbClr val="E31836"/>
          </a:solidFill>
          <a:latin typeface="Arial" pitchFamily="34" charset="0"/>
          <a:cs typeface="Arial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B61229"/>
          </a:solidFill>
          <a:latin typeface="Century Gothic" pitchFamily="34" charset="0"/>
          <a:cs typeface="Arial" charset="0"/>
        </a:defRPr>
      </a:lvl6pPr>
      <a:lvl7pPr marL="914378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B61229"/>
          </a:solidFill>
          <a:latin typeface="Century Gothic" pitchFamily="34" charset="0"/>
          <a:cs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B61229"/>
          </a:solidFill>
          <a:latin typeface="Century Gothic" pitchFamily="34" charset="0"/>
          <a:cs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100">
          <a:solidFill>
            <a:srgbClr val="B61229"/>
          </a:solidFill>
          <a:latin typeface="Century Gothic" pitchFamily="34" charset="0"/>
          <a:cs typeface="Arial" charset="0"/>
        </a:defRPr>
      </a:lvl9pPr>
    </p:titleStyle>
    <p:bodyStyle>
      <a:lvl1pPr marL="190496" indent="-190496" algn="l" rtl="0" eaLnBrk="0" fontAlgn="base" hangingPunct="0">
        <a:spcBef>
          <a:spcPct val="0"/>
        </a:spcBef>
        <a:spcAft>
          <a:spcPts val="300"/>
        </a:spcAft>
        <a:buClr>
          <a:srgbClr val="E31836"/>
        </a:buClr>
        <a:buSzPct val="115000"/>
        <a:buFont typeface="Arial" panose="020B0604020202020204" pitchFamily="34" charset="0"/>
        <a:buChar char="•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73063" indent="-257168" algn="l" rtl="0" eaLnBrk="0" fontAlgn="base" hangingPunct="0">
        <a:spcBef>
          <a:spcPct val="0"/>
        </a:spcBef>
        <a:spcAft>
          <a:spcPts val="300"/>
        </a:spcAft>
        <a:buClr>
          <a:srgbClr val="E31836"/>
        </a:buClr>
        <a:buSzPct val="115000"/>
        <a:buFont typeface="Arial" panose="020B0604020202020204" pitchFamily="34" charset="0"/>
        <a:buChar char="–"/>
        <a:defRPr sz="16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639747" indent="-158746" algn="l" rtl="0" eaLnBrk="0" fontAlgn="base" hangingPunct="0">
        <a:spcBef>
          <a:spcPct val="0"/>
        </a:spcBef>
        <a:spcAft>
          <a:spcPts val="300"/>
        </a:spcAft>
        <a:buClr>
          <a:srgbClr val="E31836"/>
        </a:buClr>
        <a:buSzPct val="115000"/>
        <a:buFont typeface="Arial" panose="020B0604020202020204" pitchFamily="34" charset="0"/>
        <a:buChar char="•"/>
        <a:defRPr lang="en-US" sz="14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798493" indent="-142871" algn="l" rtl="0" eaLnBrk="0" fontAlgn="base" hangingPunct="0">
        <a:spcBef>
          <a:spcPct val="0"/>
        </a:spcBef>
        <a:spcAft>
          <a:spcPts val="300"/>
        </a:spcAft>
        <a:buClr>
          <a:srgbClr val="E31836"/>
        </a:buClr>
        <a:buSzPct val="115000"/>
        <a:buFont typeface="Arial" panose="020B0604020202020204" pitchFamily="34" charset="0"/>
        <a:buChar char="-"/>
        <a:defRPr lang="en-US" sz="12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922315" indent="-114297" algn="l" defTabSz="923902" rtl="0" eaLnBrk="0" fontAlgn="base" hangingPunct="0">
        <a:spcBef>
          <a:spcPct val="0"/>
        </a:spcBef>
        <a:spcAft>
          <a:spcPts val="300"/>
        </a:spcAft>
        <a:buClr>
          <a:srgbClr val="E31836"/>
        </a:buClr>
        <a:buSzPct val="115000"/>
        <a:buFont typeface="Arial" panose="020B0604020202020204" pitchFamily="34" charset="0"/>
        <a:buChar char="•"/>
        <a:defRPr lang="en-GB" sz="11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668321" indent="0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None/>
        <a:defRPr sz="1000">
          <a:solidFill>
            <a:schemeClr val="bg2"/>
          </a:solidFill>
          <a:latin typeface="+mn-lt"/>
          <a:cs typeface="+mn-cs"/>
        </a:defRPr>
      </a:lvl6pPr>
      <a:lvl7pPr marL="1447764" indent="-188909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000">
          <a:solidFill>
            <a:schemeClr val="bg2"/>
          </a:solidFill>
          <a:latin typeface="+mn-lt"/>
          <a:cs typeface="+mn-cs"/>
        </a:defRPr>
      </a:lvl7pPr>
      <a:lvl8pPr marL="1904953" indent="-188909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000">
          <a:solidFill>
            <a:schemeClr val="bg2"/>
          </a:solidFill>
          <a:latin typeface="+mn-lt"/>
          <a:cs typeface="+mn-cs"/>
        </a:defRPr>
      </a:lvl8pPr>
      <a:lvl9pPr marL="2362141" indent="-188909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000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12800" y="165100"/>
            <a:ext cx="10566400" cy="787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800" y="1676400"/>
            <a:ext cx="105664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87204" name="Line 4"/>
          <p:cNvSpPr>
            <a:spLocks noChangeShapeType="1"/>
          </p:cNvSpPr>
          <p:nvPr/>
        </p:nvSpPr>
        <p:spPr bwMode="auto">
          <a:xfrm>
            <a:off x="812800" y="1066800"/>
            <a:ext cx="10566400" cy="0"/>
          </a:xfrm>
          <a:prstGeom prst="line">
            <a:avLst/>
          </a:prstGeom>
          <a:noFill/>
          <a:ln w="539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 dirty="0">
              <a:solidFill>
                <a:srgbClr val="000000"/>
              </a:solidFill>
            </a:endParaRPr>
          </a:p>
        </p:txBody>
      </p:sp>
      <p:sp>
        <p:nvSpPr>
          <p:cNvPr id="1587225" name="Line 25"/>
          <p:cNvSpPr>
            <a:spLocks noChangeShapeType="1"/>
          </p:cNvSpPr>
          <p:nvPr userDrawn="1"/>
        </p:nvSpPr>
        <p:spPr bwMode="auto">
          <a:xfrm>
            <a:off x="812800" y="1143000"/>
            <a:ext cx="10566400" cy="0"/>
          </a:xfrm>
          <a:prstGeom prst="line">
            <a:avLst/>
          </a:prstGeom>
          <a:noFill/>
          <a:ln w="53975">
            <a:solidFill>
              <a:srgbClr val="A5002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25000"/>
              </a:spcAft>
              <a:buFontTx/>
              <a:buChar char="•"/>
              <a:defRPr/>
            </a:pPr>
            <a:endParaRPr lang="en-US" sz="3600" b="1" baseline="-25000" dirty="0">
              <a:solidFill>
                <a:srgbClr val="0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9313333" y="649288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baseline="-25000">
                <a:solidFill>
                  <a:srgbClr val="000000">
                    <a:tint val="75000"/>
                  </a:srgb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B6E519-2B19-4FD1-9DB5-C3407DF9395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914400" y="6497638"/>
            <a:ext cx="91440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914400" y="6407155"/>
            <a:ext cx="8229600" cy="366713"/>
          </a:xfrm>
          <a:prstGeom prst="rect">
            <a:avLst/>
          </a:prstGeom>
          <a:noFill/>
        </p:spPr>
        <p:txBody>
          <a:bodyPr anchor="b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603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90000"/>
        </a:buClr>
        <a:buFont typeface="Symbol" pitchFamily="18" charset="2"/>
        <a:buChar char="¨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F86E287-AB4E-4E78-8934-5C76C217CDB7}" type="datetimeFigureOut">
              <a:rPr lang="en-GB"/>
              <a:pPr>
                <a:defRPr/>
              </a:pPr>
              <a:t>14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AFF2A63-8DEE-4328-8C27-1945B8839237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886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869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189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377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754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594" indent="-228594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21411D-D77C-4590-A923-56FC00EED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36DC3B-6A88-4A52-B7EF-E322BC1260D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DF903-5928-4C6E-A7E9-B32E4ECA8A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42967" y="6510704"/>
            <a:ext cx="249033" cy="246221"/>
          </a:xfrm>
          <a:prstGeom prst="rect">
            <a:avLst/>
          </a:prstGeom>
        </p:spPr>
        <p:txBody>
          <a:bodyPr vert="horz" wrap="none" lIns="0" tIns="45720" rIns="72000" bIns="4572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DA52DCD9-8769-4ED5-B8CC-B00FC588BA8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4F051-844F-499C-86A5-D8356D0D9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590261"/>
            <a:ext cx="10933113" cy="45755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1531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/"/>
        <a:defRPr sz="2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/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93">
          <p15:clr>
            <a:srgbClr val="F26B43"/>
          </p15:clr>
        </p15:guide>
        <p15:guide id="2" pos="424">
          <p15:clr>
            <a:srgbClr val="F26B43"/>
          </p15:clr>
        </p15:guide>
        <p15:guide id="3" pos="506">
          <p15:clr>
            <a:srgbClr val="F26B43"/>
          </p15:clr>
        </p15:guide>
        <p15:guide id="4" orient="horz" pos="1003">
          <p15:clr>
            <a:srgbClr val="F26B43"/>
          </p15:clr>
        </p15:guide>
        <p15:guide id="5" orient="horz" pos="3884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4A7AD84-F415-4694-A480-6DD523A1776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0053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407181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 Triangle 1">
            <a:extLst>
              <a:ext uri="{FF2B5EF4-FFF2-40B4-BE49-F238E27FC236}">
                <a16:creationId xmlns:a16="http://schemas.microsoft.com/office/drawing/2014/main" id="{73F26EA8-0986-4F87-89F7-CBBBEFDF2F4F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640080" cy="184141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ED7756-A1E0-481E-80F6-AD6128434B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026" name="Rectangle 2">
            <a:extLst>
              <a:ext uri="{FF2B5EF4-FFF2-40B4-BE49-F238E27FC236}">
                <a16:creationId xmlns:a16="http://schemas.microsoft.com/office/drawing/2014/main" id="{F53C982F-E673-4A9B-8473-37E918252E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CD521839-B413-4698-B7AB-42AC3F4B2BA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350435"/>
            <a:ext cx="11144251" cy="4218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kumimoji="0" lang="en-US" altLang="en-US" sz="1100" b="0" i="0" u="none" strike="noStrike" kern="0" cap="none" spc="0" normalizeH="0" baseline="0" noProof="0" dirty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9D49944-0172-41BB-A851-8D03A481D0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789C359-43D2-40CF-B169-BB07634D6AC8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 dirty="0">
                <a:solidFill>
                  <a:schemeClr val="tx1"/>
                </a:solidFill>
              </a:rPr>
              <a:t>IDWeek 2020™; October 21-25, 2020; Virtua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958EBF-8926-4F05-877B-D19506E5DEDC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212-023A-4770-B891-8003E80BAA3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57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9pPr>
    </p:titleStyle>
    <p:bodyStyle>
      <a:lvl1pPr marL="192024" indent="-192024" algn="l" rtl="0" eaLnBrk="1" fontAlgn="base" hangingPunct="1">
        <a:spcBef>
          <a:spcPts val="800"/>
        </a:spcBef>
        <a:spcAft>
          <a:spcPts val="0"/>
        </a:spcAft>
        <a:buClr>
          <a:schemeClr val="tx2"/>
        </a:buClr>
        <a:buSzPct val="115000"/>
        <a:buFont typeface="Arial" panose="020B0604020202020204" pitchFamily="34" charset="0"/>
        <a:buChar char="•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7472" indent="-155448" algn="l" rtl="0" eaLnBrk="1" fontAlgn="base" hangingPunct="1">
        <a:spcBef>
          <a:spcPts val="400"/>
        </a:spcBef>
        <a:spcAft>
          <a:spcPts val="0"/>
        </a:spcAft>
        <a:buClr>
          <a:srgbClr val="E31836"/>
        </a:buClr>
        <a:buSzPct val="115000"/>
        <a:buFont typeface="Arial" panose="020B0604020202020204" pitchFamily="34" charset="0"/>
        <a:buChar char="•"/>
        <a:defRPr sz="17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493776" indent="-146304" algn="l" rtl="0" eaLnBrk="1" fontAlgn="base" hangingPunct="1"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defRPr lang="en-US" sz="15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621792" indent="-128016" algn="l" rtl="0" eaLnBrk="1" fontAlgn="base" hangingPunct="1"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defRPr lang="en-US" sz="13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731838" marR="0" indent="-119063" algn="l" defTabSz="1231869" rtl="0" eaLnBrk="1" fontAlgn="base" latinLnBrk="0" hangingPunct="1">
        <a:lnSpc>
          <a:spcPct val="100000"/>
        </a:lnSpc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tabLst/>
        <a:defRPr lang="en-GB" sz="11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891095" indent="0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None/>
        <a:defRPr sz="1333">
          <a:solidFill>
            <a:schemeClr val="bg2"/>
          </a:solidFill>
          <a:latin typeface="+mn-lt"/>
          <a:cs typeface="+mn-cs"/>
        </a:defRPr>
      </a:lvl6pPr>
      <a:lvl7pPr marL="1930352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7pPr>
      <a:lvl8pPr marL="2539937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8pPr>
      <a:lvl9pPr marL="3149521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76">
          <p15:clr>
            <a:srgbClr val="F26B43"/>
          </p15:clr>
        </p15:guide>
        <p15:guide id="4" pos="4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25B0BFB-DC2F-43B0-A187-2569BD84F8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55954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25B0BFB-DC2F-43B0-A187-2569BD84F8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3D9177-A286-41D7-9AE8-229A9E20D4C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F21411D-D77C-4590-A923-56FC00EED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36DC3B-6A88-4A52-B7EF-E322BC1260D3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3ED92E-3D94-4A33-A25F-DCDC7FA5B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184935"/>
            <a:ext cx="10933113" cy="88357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DF903-5928-4C6E-A7E9-B32E4ECA8A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942967" y="6510704"/>
            <a:ext cx="249033" cy="246221"/>
          </a:xfrm>
          <a:prstGeom prst="rect">
            <a:avLst/>
          </a:prstGeom>
        </p:spPr>
        <p:txBody>
          <a:bodyPr vert="horz" wrap="none" lIns="0" tIns="45720" rIns="72000" bIns="45720" rtlCol="0" anchor="b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DA52DCD9-8769-4ED5-B8CC-B00FC588BA8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4F051-844F-499C-86A5-D8356D0D9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590261"/>
            <a:ext cx="10933113" cy="45755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20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  <p:sldLayoutId id="2147483890" r:id="rId12"/>
    <p:sldLayoutId id="2147483891" r:id="rId13"/>
    <p:sldLayoutId id="2147483892" r:id="rId14"/>
    <p:sldLayoutId id="2147483893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/"/>
        <a:defRPr sz="20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/"/>
        <a:defRPr sz="18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4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300"/>
        </a:spcBef>
        <a:buClr>
          <a:schemeClr val="accent1"/>
        </a:buClr>
        <a:buFont typeface="Arial" panose="020B0604020202020204" pitchFamily="34" charset="0"/>
        <a:buChar char="/"/>
        <a:defRPr sz="14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93">
          <p15:clr>
            <a:srgbClr val="F26B43"/>
          </p15:clr>
        </p15:guide>
        <p15:guide id="2" pos="424">
          <p15:clr>
            <a:srgbClr val="F26B43"/>
          </p15:clr>
        </p15:guide>
        <p15:guide id="3" pos="506">
          <p15:clr>
            <a:srgbClr val="F26B43"/>
          </p15:clr>
        </p15:guide>
        <p15:guide id="4" orient="horz" pos="1003">
          <p15:clr>
            <a:srgbClr val="F26B43"/>
          </p15:clr>
        </p15:guide>
        <p15:guide id="5" orient="horz" pos="3884">
          <p15:clr>
            <a:srgbClr val="F26B43"/>
          </p15:clr>
        </p15:guide>
        <p15:guide id="6" orient="horz" pos="4224">
          <p15:clr>
            <a:srgbClr val="F26B43"/>
          </p15:clr>
        </p15:guide>
        <p15:guide id="7" orient="horz" pos="61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 Triangle 1">
            <a:extLst>
              <a:ext uri="{FF2B5EF4-FFF2-40B4-BE49-F238E27FC236}">
                <a16:creationId xmlns:a16="http://schemas.microsoft.com/office/drawing/2014/main" id="{73F26EA8-0986-4F87-89F7-CBBBEFDF2F4F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0" y="0"/>
            <a:ext cx="640080" cy="184141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ED7756-A1E0-481E-80F6-AD6128434B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63" t="79880"/>
          <a:stretch/>
        </p:blipFill>
        <p:spPr>
          <a:xfrm>
            <a:off x="11663264" y="5477068"/>
            <a:ext cx="528735" cy="1379057"/>
          </a:xfrm>
          <a:prstGeom prst="rect">
            <a:avLst/>
          </a:prstGeom>
        </p:spPr>
      </p:pic>
      <p:sp>
        <p:nvSpPr>
          <p:cNvPr id="1026" name="Rectangle 2">
            <a:extLst>
              <a:ext uri="{FF2B5EF4-FFF2-40B4-BE49-F238E27FC236}">
                <a16:creationId xmlns:a16="http://schemas.microsoft.com/office/drawing/2014/main" id="{F53C982F-E673-4A9B-8473-37E918252E1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CD521839-B413-4698-B7AB-42AC3F4B2BA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711200" y="1350435"/>
            <a:ext cx="11144251" cy="4218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marL="731838" marR="0" lvl="4" indent="-119063" algn="l" defTabSz="1231869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100" b="0" i="0" u="none" strike="noStrike" kern="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49D49944-0172-41BB-A851-8D03A481D0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724AC3FD-09E3-4FF5-A0F9-A72F20D7F301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1789C359-43D2-40CF-B169-BB07634D6AC8}"/>
              </a:ext>
            </a:extLst>
          </p:cNvPr>
          <p:cNvSpPr txBox="1">
            <a:spLocks/>
          </p:cNvSpPr>
          <p:nvPr userDrawn="1"/>
        </p:nvSpPr>
        <p:spPr>
          <a:xfrm>
            <a:off x="699168" y="6417367"/>
            <a:ext cx="10833100" cy="149375"/>
          </a:xfrm>
          <a:prstGeom prst="rect">
            <a:avLst/>
          </a:prstGeom>
        </p:spPr>
        <p:txBody>
          <a:bodyPr lIns="0" tIns="0" rIns="0" bIns="0"/>
          <a:lstStyle>
            <a:lvl1pPr marL="0" indent="0" algn="r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9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sz="800" b="1" kern="0">
                <a:solidFill>
                  <a:schemeClr val="tx1"/>
                </a:solidFill>
              </a:rPr>
              <a:t>19th European AIDS Conference; October 18-21, 2023; Warsaw, Poland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8958EBF-8926-4F05-877B-D19506E5DEDC}"/>
              </a:ext>
            </a:extLst>
          </p:cNvPr>
          <p:cNvCxnSpPr/>
          <p:nvPr userDrawn="1"/>
        </p:nvCxnSpPr>
        <p:spPr>
          <a:xfrm>
            <a:off x="697164" y="6249600"/>
            <a:ext cx="5220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CF22212-023A-4770-B891-8003E80BAA3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05200" cy="2025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644833F-26EF-C1C0-4A30-7C27A4093807}"/>
              </a:ext>
            </a:extLst>
          </p:cNvPr>
          <p:cNvSpPr txBox="1"/>
          <p:nvPr userDrawn="1"/>
        </p:nvSpPr>
        <p:spPr bwMode="auto">
          <a:xfrm>
            <a:off x="8915400" y="-13855"/>
            <a:ext cx="4140868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s-ES_tradnl" sz="1050" kern="0" dirty="0"/>
              <a:t>Uso exclusivo Dto. Médico. No usar en promoción</a:t>
            </a:r>
          </a:p>
        </p:txBody>
      </p:sp>
    </p:spTree>
    <p:extLst>
      <p:ext uri="{BB962C8B-B14F-4D97-AF65-F5344CB8AC3E}">
        <p14:creationId xmlns:p14="http://schemas.microsoft.com/office/powerpoint/2010/main" val="38051511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</p:sldLayoutIdLst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2pPr>
      <a:lvl3pPr algn="l" rtl="0" eaLnBrk="0" fontAlgn="base" hangingPunct="0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3pPr>
      <a:lvl4pPr algn="l" rtl="0" eaLnBrk="0" fontAlgn="base" hangingPunct="0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4pPr>
      <a:lvl5pPr algn="l" rtl="0" eaLnBrk="0" fontAlgn="base" hangingPunct="0">
        <a:lnSpc>
          <a:spcPts val="4667"/>
        </a:lnSpc>
        <a:spcBef>
          <a:spcPct val="0"/>
        </a:spcBef>
        <a:spcAft>
          <a:spcPct val="0"/>
        </a:spcAft>
        <a:defRPr sz="3200" b="1">
          <a:solidFill>
            <a:srgbClr val="E31836"/>
          </a:solidFill>
          <a:latin typeface="Arial" pitchFamily="34" charset="0"/>
          <a:cs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B61229"/>
          </a:solidFill>
          <a:latin typeface="Century Gothic" pitchFamily="34" charset="0"/>
          <a:cs typeface="Arial" charset="0"/>
        </a:defRPr>
      </a:lvl9pPr>
    </p:titleStyle>
    <p:bodyStyle>
      <a:lvl1pPr marL="192024" indent="-192024" algn="l" rtl="0" eaLnBrk="0" fontAlgn="base" hangingPunct="0">
        <a:spcBef>
          <a:spcPts val="800"/>
        </a:spcBef>
        <a:spcAft>
          <a:spcPts val="0"/>
        </a:spcAft>
        <a:buClr>
          <a:schemeClr val="tx2"/>
        </a:buClr>
        <a:buSzPct val="115000"/>
        <a:buFont typeface="Arial" panose="020B0604020202020204" pitchFamily="34" charset="0"/>
        <a:buChar char="•"/>
        <a:defRPr sz="20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7472" indent="-155448" algn="l" rtl="0" eaLnBrk="0" fontAlgn="base" hangingPunct="0">
        <a:spcBef>
          <a:spcPts val="400"/>
        </a:spcBef>
        <a:spcAft>
          <a:spcPts val="0"/>
        </a:spcAft>
        <a:buClr>
          <a:srgbClr val="E31836"/>
        </a:buClr>
        <a:buSzPct val="115000"/>
        <a:buFont typeface="Arial" panose="020B0604020202020204" pitchFamily="34" charset="0"/>
        <a:buChar char="•"/>
        <a:defRPr sz="17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marL="493776" indent="-146304" algn="l" rtl="0" eaLnBrk="0" fontAlgn="base" hangingPunct="0"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defRPr lang="en-US" sz="15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marL="621792" indent="-128016" algn="l" rtl="0" eaLnBrk="0" fontAlgn="base" hangingPunct="0"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defRPr lang="en-US" sz="13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marL="731838" marR="0" indent="-119063" algn="l" defTabSz="1231869" rtl="0" eaLnBrk="0" fontAlgn="base" latinLnBrk="0" hangingPunct="0">
        <a:lnSpc>
          <a:spcPct val="100000"/>
        </a:lnSpc>
        <a:spcBef>
          <a:spcPts val="400"/>
        </a:spcBef>
        <a:spcAft>
          <a:spcPts val="0"/>
        </a:spcAft>
        <a:buClr>
          <a:srgbClr val="E40046"/>
        </a:buClr>
        <a:buSzPct val="115000"/>
        <a:buFont typeface="Arial" panose="020B0604020202020204" pitchFamily="34" charset="0"/>
        <a:buChar char="•"/>
        <a:tabLst/>
        <a:defRPr lang="en-GB" sz="1100" dirty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891095" indent="0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None/>
        <a:defRPr sz="1333">
          <a:solidFill>
            <a:schemeClr val="bg2"/>
          </a:solidFill>
          <a:latin typeface="+mn-lt"/>
          <a:cs typeface="+mn-cs"/>
        </a:defRPr>
      </a:lvl6pPr>
      <a:lvl7pPr marL="1930352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7pPr>
      <a:lvl8pPr marL="2539937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8pPr>
      <a:lvl9pPr marL="3149521" indent="-251878" algn="l" rtl="0" eaLnBrk="1" fontAlgn="base" hangingPunct="1">
        <a:spcBef>
          <a:spcPct val="20000"/>
        </a:spcBef>
        <a:spcAft>
          <a:spcPct val="0"/>
        </a:spcAft>
        <a:buClr>
          <a:srgbClr val="B61229"/>
        </a:buClr>
        <a:buSzPct val="115000"/>
        <a:buFont typeface="Arial" charset="0"/>
        <a:buChar char="•"/>
        <a:defRPr sz="1333">
          <a:solidFill>
            <a:schemeClr val="bg2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76">
          <p15:clr>
            <a:srgbClr val="F26B43"/>
          </p15:clr>
        </p15:guide>
        <p15:guide id="4" pos="44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cid:image002.png@01D6761A.0339B870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csociety.org/media/guidelines-12.0.pdf" TargetMode="External"/><Relationship Id="rId2" Type="http://schemas.openxmlformats.org/officeDocument/2006/relationships/hyperlink" Target="https://www.eacsociety.org/files/guidelines-10.1_finaljan2021_1.pdf" TargetMode="Externa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gesida-seimc.org/" TargetMode="External"/><Relationship Id="rId4" Type="http://schemas.openxmlformats.org/officeDocument/2006/relationships/hyperlink" Target="https://clinicalinfo.hiv.gov/en/guidelines/hiv-clinical-guidelines-adult-and-adolescent-arv/whats-new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acsociety.org/media/guidelines-12.0.pdf" TargetMode="External"/><Relationship Id="rId2" Type="http://schemas.openxmlformats.org/officeDocument/2006/relationships/hyperlink" Target="https://www.eacsociety.org/files/guidelines-10.1_finaljan2021_1.pdf" TargetMode="Externa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gesida-seimc.org/" TargetMode="External"/><Relationship Id="rId4" Type="http://schemas.openxmlformats.org/officeDocument/2006/relationships/hyperlink" Target="https://clinicalinfo.hiv.gov/en/guidelines/hiv-clinical-guidelines-adult-and-adolescent-arv/whats-new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55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2" name="Title 5"/>
          <p:cNvSpPr>
            <a:spLocks noGrp="1"/>
          </p:cNvSpPr>
          <p:nvPr>
            <p:ph type="title"/>
          </p:nvPr>
        </p:nvSpPr>
        <p:spPr>
          <a:xfrm>
            <a:off x="0" y="3754056"/>
            <a:ext cx="11936829" cy="985310"/>
          </a:xfrm>
        </p:spPr>
        <p:txBody>
          <a:bodyPr/>
          <a:lstStyle/>
          <a:p>
            <a:pPr algn="ctr" eaLnBrk="1" hangingPunct="1">
              <a:lnSpc>
                <a:spcPct val="100000"/>
              </a:lnSpc>
            </a:pPr>
            <a:r>
              <a:rPr lang="es-ES" altLang="en-US" sz="33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vato</a:t>
            </a:r>
            <a:r>
              <a:rPr lang="es-ES" altLang="en-US" sz="33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evos datos post IAS/EACS.</a:t>
            </a:r>
            <a:br>
              <a:rPr lang="ca-ES" altLang="en-US" sz="33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altLang="en-US" sz="23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lla,14  de noviembre de 2023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20FF9EC-D547-43D6-9DED-4129234B0D91}"/>
              </a:ext>
            </a:extLst>
          </p:cNvPr>
          <p:cNvSpPr txBox="1"/>
          <p:nvPr/>
        </p:nvSpPr>
        <p:spPr>
          <a:xfrm>
            <a:off x="3884063" y="5000776"/>
            <a:ext cx="4385773" cy="1015632"/>
          </a:xfrm>
          <a:prstGeom prst="rect">
            <a:avLst/>
          </a:prstGeom>
          <a:noFill/>
        </p:spPr>
        <p:txBody>
          <a:bodyPr wrap="none" lIns="91387" tIns="45705" rIns="91387" bIns="45705" rtlCol="0">
            <a:spAutoFit/>
          </a:bodyPr>
          <a:lstStyle/>
          <a:p>
            <a:pPr algn="ctr" defTabSz="914377">
              <a:defRPr/>
            </a:pPr>
            <a:r>
              <a:rPr lang="es-ES" sz="2000" b="1" dirty="0">
                <a:solidFill>
                  <a:srgbClr val="000000"/>
                </a:solidFill>
                <a:ea typeface="ＭＳ Ｐゴシック"/>
                <a:cs typeface="Arial"/>
              </a:rPr>
              <a:t>Boris Revollo B.</a:t>
            </a:r>
            <a:r>
              <a:rPr lang="es-ES" sz="2000" b="1" dirty="0"/>
              <a:t> MD, PhD</a:t>
            </a:r>
            <a:endParaRPr lang="es-ES" sz="2000" b="1" dirty="0">
              <a:solidFill>
                <a:srgbClr val="000000"/>
              </a:solidFill>
              <a:ea typeface="ＭＳ Ｐゴシック"/>
              <a:cs typeface="Arial"/>
            </a:endParaRPr>
          </a:p>
          <a:p>
            <a:pPr algn="ctr" defTabSz="914377">
              <a:defRPr/>
            </a:pPr>
            <a:r>
              <a:rPr lang="en-US" sz="2000" dirty="0">
                <a:solidFill>
                  <a:srgbClr val="000000"/>
                </a:solidFill>
                <a:ea typeface="ＭＳ Ｐゴシック"/>
                <a:cs typeface="Arial"/>
              </a:rPr>
              <a:t>Germans </a:t>
            </a:r>
            <a:r>
              <a:rPr lang="en-US" sz="2000" dirty="0" err="1">
                <a:solidFill>
                  <a:srgbClr val="000000"/>
                </a:solidFill>
                <a:ea typeface="ＭＳ Ｐゴシック"/>
                <a:cs typeface="Arial"/>
              </a:rPr>
              <a:t>Trias</a:t>
            </a:r>
            <a:r>
              <a:rPr lang="en-US" sz="2000" dirty="0">
                <a:solidFill>
                  <a:srgbClr val="000000"/>
                </a:solidFill>
                <a:ea typeface="ＭＳ Ｐゴシック"/>
                <a:cs typeface="Arial"/>
              </a:rPr>
              <a:t> </a:t>
            </a:r>
            <a:r>
              <a:rPr lang="en-US" sz="2000" dirty="0" err="1">
                <a:solidFill>
                  <a:srgbClr val="000000"/>
                </a:solidFill>
                <a:ea typeface="ＭＳ Ｐゴシック"/>
                <a:cs typeface="Arial"/>
              </a:rPr>
              <a:t>i</a:t>
            </a:r>
            <a:r>
              <a:rPr lang="en-US" sz="2000" dirty="0">
                <a:solidFill>
                  <a:srgbClr val="000000"/>
                </a:solidFill>
                <a:ea typeface="ＭＳ Ｐゴシック"/>
                <a:cs typeface="Arial"/>
              </a:rPr>
              <a:t> Pujol University Hospital</a:t>
            </a:r>
          </a:p>
          <a:p>
            <a:pPr algn="ctr" defTabSz="914377">
              <a:defRPr/>
            </a:pPr>
            <a:r>
              <a:rPr lang="en-US" sz="2000" dirty="0">
                <a:solidFill>
                  <a:srgbClr val="000000"/>
                </a:solidFill>
                <a:ea typeface="ＭＳ Ｐゴシック"/>
                <a:cs typeface="Arial"/>
              </a:rPr>
              <a:t>Infectious Diseases Department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471AB83-2847-4F94-AAB5-D83B9270245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-27383"/>
            <a:ext cx="12192000" cy="2545713"/>
          </a:xfrm>
          <a:prstGeom prst="rect">
            <a:avLst/>
          </a:prstGeom>
        </p:spPr>
      </p:pic>
      <p:pic>
        <p:nvPicPr>
          <p:cNvPr id="7" name="Imagen 3">
            <a:extLst>
              <a:ext uri="{FF2B5EF4-FFF2-40B4-BE49-F238E27FC236}">
                <a16:creationId xmlns:a16="http://schemas.microsoft.com/office/drawing/2014/main" id="{ABB33AA0-7C37-4F87-B9B1-097FB3EFDE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35984"/>
            <a:ext cx="12192000" cy="279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cid:image002.png@01D6761A.0339B870">
            <a:extLst>
              <a:ext uri="{FF2B5EF4-FFF2-40B4-BE49-F238E27FC236}">
                <a16:creationId xmlns:a16="http://schemas.microsoft.com/office/drawing/2014/main" id="{585BAD42-4ADA-485D-9388-4387B63E7B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4926" y="6313620"/>
            <a:ext cx="3121152" cy="348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4">
            <a:extLst>
              <a:ext uri="{FF2B5EF4-FFF2-40B4-BE49-F238E27FC236}">
                <a16:creationId xmlns:a16="http://schemas.microsoft.com/office/drawing/2014/main" id="{A50CB492-96C8-556E-787D-BE1C93098A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77" y="6128748"/>
            <a:ext cx="17145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55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TG/3TC in a Test-and-Treat Setting 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 rot="10800000" flipV="1">
            <a:off x="7591651" y="6634725"/>
            <a:ext cx="4597660" cy="210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olle CP et al, Open Forum Infectious Diseases 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1 March 2023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9E09FEA-8213-5F01-BE65-E8AB8EB123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3056"/>
            <a:ext cx="12192000" cy="493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50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>
                <a:solidFill>
                  <a:schemeClr val="bg1"/>
                </a:solidFill>
              </a:rPr>
              <a:t>D2ARLING Study Design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Content Placeholder 12">
            <a:extLst>
              <a:ext uri="{FF2B5EF4-FFF2-40B4-BE49-F238E27FC236}">
                <a16:creationId xmlns:a16="http://schemas.microsoft.com/office/drawing/2014/main" id="{2EABBCBC-21BD-5785-2723-AAA925F703B7}"/>
              </a:ext>
            </a:extLst>
          </p:cNvPr>
          <p:cNvSpPr txBox="1">
            <a:spLocks/>
          </p:cNvSpPr>
          <p:nvPr/>
        </p:nvSpPr>
        <p:spPr>
          <a:xfrm>
            <a:off x="10628" y="717694"/>
            <a:ext cx="11908466" cy="51567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800"/>
              </a:spcBef>
            </a:pPr>
            <a:endParaRPr lang="en-US" altLang="en-US" sz="2600" dirty="0">
              <a:solidFill>
                <a:schemeClr val="tx1"/>
              </a:solidFill>
            </a:endParaRPr>
          </a:p>
          <a:p>
            <a:pPr>
              <a:spcBef>
                <a:spcPts val="800"/>
              </a:spcBef>
            </a:pPr>
            <a:r>
              <a:rPr lang="en-US" altLang="en-US" sz="2600" b="1" dirty="0">
                <a:solidFill>
                  <a:schemeClr val="tx1"/>
                </a:solidFill>
              </a:rPr>
              <a:t>Study Objectives</a:t>
            </a:r>
          </a:p>
          <a:p>
            <a:pPr>
              <a:spcBef>
                <a:spcPts val="800"/>
              </a:spcBef>
            </a:pPr>
            <a:r>
              <a:rPr lang="en-US" altLang="en-US" sz="2200" dirty="0">
                <a:solidFill>
                  <a:schemeClr val="tx1"/>
                </a:solidFill>
              </a:rPr>
              <a:t>Assess the efficacy and safety of DTG+3TC in treatment-naïve PLHIV without baseline HIV-1 resistance testing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3A5CB4-1791-20FA-38BE-4EB4A91026FF}"/>
              </a:ext>
            </a:extLst>
          </p:cNvPr>
          <p:cNvSpPr txBox="1">
            <a:spLocks/>
          </p:cNvSpPr>
          <p:nvPr/>
        </p:nvSpPr>
        <p:spPr>
          <a:xfrm>
            <a:off x="6997995" y="6494737"/>
            <a:ext cx="6385558" cy="219723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dova et al. IAS 2023; Brisbane, Australia. Poster TUPEB02.</a:t>
            </a:r>
          </a:p>
        </p:txBody>
      </p:sp>
      <p:pic>
        <p:nvPicPr>
          <p:cNvPr id="8" name="Picture 2" descr="A diagram of a test&#10;&#10;Description automatically generated">
            <a:extLst>
              <a:ext uri="{FF2B5EF4-FFF2-40B4-BE49-F238E27FC236}">
                <a16:creationId xmlns:a16="http://schemas.microsoft.com/office/drawing/2014/main" id="{74568153-B5A6-FBB6-B763-8E1BBDC569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7073" y="2207895"/>
            <a:ext cx="9477375" cy="3514725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7000CFCF-6052-750C-549C-2EA2D5614206}"/>
              </a:ext>
            </a:extLst>
          </p:cNvPr>
          <p:cNvSpPr txBox="1"/>
          <p:nvPr/>
        </p:nvSpPr>
        <p:spPr>
          <a:xfrm>
            <a:off x="448339" y="5981942"/>
            <a:ext cx="1174366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 of 244 subjects screened, 214 were randomized to receive DTG+3TC (n=106) or DTG+TDF/XTC (n=108)</a:t>
            </a:r>
          </a:p>
        </p:txBody>
      </p:sp>
    </p:spTree>
    <p:extLst>
      <p:ext uri="{BB962C8B-B14F-4D97-AF65-F5344CB8AC3E}">
        <p14:creationId xmlns:p14="http://schemas.microsoft.com/office/powerpoint/2010/main" val="356192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49244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600" b="1" dirty="0">
                <a:solidFill>
                  <a:schemeClr val="bg1"/>
                </a:solidFill>
              </a:rPr>
              <a:t>Demographics and Clinical Baseline Characteristics in the ITT-Exposed Population</a:t>
            </a:r>
            <a:endParaRPr kumimoji="0" lang="en-GB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4F4022F-7EC2-BF47-C011-0DAC66A2E943}"/>
              </a:ext>
            </a:extLst>
          </p:cNvPr>
          <p:cNvSpPr txBox="1">
            <a:spLocks/>
          </p:cNvSpPr>
          <p:nvPr/>
        </p:nvSpPr>
        <p:spPr>
          <a:xfrm>
            <a:off x="7221279" y="6494737"/>
            <a:ext cx="6385558" cy="219723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dova et al. IAS 2023; Brisbane, Australia. Poster TUPEB02.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B007E34F-C92C-662F-8AA7-1F05822D1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67255" y="2036135"/>
            <a:ext cx="8491407" cy="321183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90EAE458-EAF7-711D-A4C7-0E6AA83F11CD}"/>
              </a:ext>
            </a:extLst>
          </p:cNvPr>
          <p:cNvSpPr txBox="1"/>
          <p:nvPr/>
        </p:nvSpPr>
        <p:spPr>
          <a:xfrm>
            <a:off x="0" y="804161"/>
            <a:ext cx="68048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line characteristics were similar between arms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8B85AE37-662C-5099-C80F-1CEFC8692917}"/>
              </a:ext>
            </a:extLst>
          </p:cNvPr>
          <p:cNvSpPr/>
          <p:nvPr/>
        </p:nvSpPr>
        <p:spPr>
          <a:xfrm>
            <a:off x="2062716" y="4316812"/>
            <a:ext cx="8261498" cy="382779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1981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64633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600" b="1" dirty="0">
                <a:solidFill>
                  <a:schemeClr val="bg1"/>
                </a:solidFill>
              </a:rPr>
              <a:t>Virologic Results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74F4022F-7EC2-BF47-C011-0DAC66A2E943}"/>
              </a:ext>
            </a:extLst>
          </p:cNvPr>
          <p:cNvSpPr txBox="1">
            <a:spLocks/>
          </p:cNvSpPr>
          <p:nvPr/>
        </p:nvSpPr>
        <p:spPr>
          <a:xfrm>
            <a:off x="7221279" y="6494737"/>
            <a:ext cx="6385558" cy="219723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rdova et al. IAS 2023; Brisbane, Australia. Poster TUPEB02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726AEC7-0766-9DC4-9746-1969B0FCA0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404"/>
          <a:stretch/>
        </p:blipFill>
        <p:spPr>
          <a:xfrm>
            <a:off x="735079" y="1141135"/>
            <a:ext cx="11040813" cy="5142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47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3">
            <a:extLst>
              <a:ext uri="{FF2B5EF4-FFF2-40B4-BE49-F238E27FC236}">
                <a16:creationId xmlns:a16="http://schemas.microsoft.com/office/drawing/2014/main" id="{D1D086E8-BDBC-6B71-28BE-FD21FCCD3E3E}"/>
              </a:ext>
            </a:extLst>
          </p:cNvPr>
          <p:cNvSpPr txBox="1"/>
          <p:nvPr/>
        </p:nvSpPr>
        <p:spPr>
          <a:xfrm>
            <a:off x="0" y="-1"/>
            <a:ext cx="12192000" cy="107721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200" b="1" dirty="0">
                <a:solidFill>
                  <a:schemeClr val="bg1"/>
                </a:solidFill>
              </a:rPr>
              <a:t>DOLAM-500: </a:t>
            </a:r>
            <a:r>
              <a:rPr lang="es-ES" sz="3200" b="1" dirty="0" err="1">
                <a:solidFill>
                  <a:schemeClr val="bg1"/>
                </a:solidFill>
              </a:rPr>
              <a:t>Efficacy</a:t>
            </a:r>
            <a:r>
              <a:rPr lang="es-ES" sz="3200" b="1" dirty="0">
                <a:solidFill>
                  <a:schemeClr val="bg1"/>
                </a:solidFill>
              </a:rPr>
              <a:t> and safety </a:t>
            </a:r>
            <a:r>
              <a:rPr lang="es-ES" sz="3200" b="1" dirty="0" err="1">
                <a:solidFill>
                  <a:schemeClr val="bg1"/>
                </a:solidFill>
              </a:rPr>
              <a:t>of</a:t>
            </a:r>
            <a:r>
              <a:rPr lang="es-ES" sz="3200" b="1" dirty="0">
                <a:solidFill>
                  <a:schemeClr val="bg1"/>
                </a:solidFill>
              </a:rPr>
              <a:t> </a:t>
            </a:r>
            <a:r>
              <a:rPr lang="es-ES" sz="3200" b="1" dirty="0" err="1">
                <a:solidFill>
                  <a:schemeClr val="bg1"/>
                </a:solidFill>
              </a:rPr>
              <a:t>Dolutegravir</a:t>
            </a:r>
            <a:r>
              <a:rPr lang="es-ES" sz="3200" b="1" dirty="0">
                <a:solidFill>
                  <a:schemeClr val="bg1"/>
                </a:solidFill>
              </a:rPr>
              <a:t> (DTG) plus </a:t>
            </a:r>
            <a:r>
              <a:rPr lang="es-ES" sz="3200" b="1" dirty="0" err="1">
                <a:solidFill>
                  <a:schemeClr val="bg1"/>
                </a:solidFill>
              </a:rPr>
              <a:t>Lamivudine</a:t>
            </a:r>
            <a:r>
              <a:rPr lang="es-ES" sz="3200" b="1" dirty="0">
                <a:solidFill>
                  <a:schemeClr val="bg1"/>
                </a:solidFill>
              </a:rPr>
              <a:t> (3TC) in ART-</a:t>
            </a:r>
            <a:r>
              <a:rPr lang="es-ES" sz="3200" b="1" dirty="0" err="1">
                <a:solidFill>
                  <a:schemeClr val="bg1"/>
                </a:solidFill>
              </a:rPr>
              <a:t>naive</a:t>
            </a:r>
            <a:r>
              <a:rPr lang="es-ES" sz="3200" b="1" dirty="0">
                <a:solidFill>
                  <a:schemeClr val="bg1"/>
                </a:solidFill>
              </a:rPr>
              <a:t> PLWH </a:t>
            </a:r>
            <a:r>
              <a:rPr lang="es-ES" sz="3200" b="1" dirty="0" err="1">
                <a:solidFill>
                  <a:schemeClr val="bg1"/>
                </a:solidFill>
              </a:rPr>
              <a:t>with</a:t>
            </a:r>
            <a:r>
              <a:rPr lang="es-ES" sz="3200" b="1" dirty="0">
                <a:solidFill>
                  <a:schemeClr val="bg1"/>
                </a:solidFill>
              </a:rPr>
              <a:t> </a:t>
            </a:r>
            <a:r>
              <a:rPr lang="es-ES" sz="3200" b="1" dirty="0" err="1">
                <a:solidFill>
                  <a:schemeClr val="bg1"/>
                </a:solidFill>
              </a:rPr>
              <a:t>baseline</a:t>
            </a:r>
            <a:r>
              <a:rPr lang="es-ES" sz="3200" b="1" dirty="0">
                <a:solidFill>
                  <a:schemeClr val="bg1"/>
                </a:solidFill>
              </a:rPr>
              <a:t> viral load ≥500.000 copies/ml 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799E8C5-70D2-F3DC-D26E-E081D8A62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25" y="1158949"/>
            <a:ext cx="5432140" cy="4896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9C235C8C-7C40-765E-6ACC-A66D0751146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6473"/>
          <a:stretch/>
        </p:blipFill>
        <p:spPr>
          <a:xfrm>
            <a:off x="5805664" y="1148315"/>
            <a:ext cx="5638097" cy="4968000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848D25B1-A1EA-7BCC-4354-D0744A37BB43}"/>
              </a:ext>
            </a:extLst>
          </p:cNvPr>
          <p:cNvSpPr txBox="1"/>
          <p:nvPr/>
        </p:nvSpPr>
        <p:spPr>
          <a:xfrm>
            <a:off x="6524846" y="6488668"/>
            <a:ext cx="5667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err="1"/>
              <a:t>Inan</a:t>
            </a:r>
            <a:r>
              <a:rPr lang="es-ES" dirty="0"/>
              <a:t> A et al.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EACS 2023; Warsaw, Poland. Poster 190 </a:t>
            </a:r>
            <a:r>
              <a:rPr lang="es-ES" dirty="0"/>
              <a:t>  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5142FE9E-6BAF-4637-A8C7-4889283A7BB4}"/>
              </a:ext>
            </a:extLst>
          </p:cNvPr>
          <p:cNvSpPr/>
          <p:nvPr/>
        </p:nvSpPr>
        <p:spPr>
          <a:xfrm>
            <a:off x="9643731" y="1637414"/>
            <a:ext cx="850604" cy="4391246"/>
          </a:xfrm>
          <a:prstGeom prst="rect">
            <a:avLst/>
          </a:prstGeom>
          <a:noFill/>
          <a:ln w="57150">
            <a:solidFill>
              <a:srgbClr val="002F5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0DA2DDA-0581-C4BB-33BB-5689A6D4E547}"/>
              </a:ext>
            </a:extLst>
          </p:cNvPr>
          <p:cNvSpPr/>
          <p:nvPr/>
        </p:nvSpPr>
        <p:spPr>
          <a:xfrm>
            <a:off x="10508518" y="1640952"/>
            <a:ext cx="850604" cy="4391246"/>
          </a:xfrm>
          <a:prstGeom prst="rect">
            <a:avLst/>
          </a:prstGeom>
          <a:noFill/>
          <a:ln w="57150">
            <a:solidFill>
              <a:srgbClr val="002F5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66879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AD7686DA-A710-7E65-229A-AD9D329592D1}"/>
              </a:ext>
            </a:extLst>
          </p:cNvPr>
          <p:cNvSpPr txBox="1">
            <a:spLocks/>
          </p:cNvSpPr>
          <p:nvPr/>
        </p:nvSpPr>
        <p:spPr bwMode="auto">
          <a:xfrm>
            <a:off x="9090837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C41EA852-0522-8D9D-8F77-204A7056F9E8}"/>
              </a:ext>
            </a:extLst>
          </p:cNvPr>
          <p:cNvSpPr txBox="1">
            <a:spLocks/>
          </p:cNvSpPr>
          <p:nvPr/>
        </p:nvSpPr>
        <p:spPr bwMode="auto">
          <a:xfrm>
            <a:off x="95694" y="1180215"/>
            <a:ext cx="11791506" cy="2560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7500"/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effectLst/>
                <a:latin typeface="+mj-lt"/>
                <a:ea typeface="+mj-ea"/>
                <a:cs typeface="Arial"/>
              </a:defRPr>
            </a:lvl1pPr>
            <a:lvl2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2pPr>
            <a:lvl3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3pPr>
            <a:lvl4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4pPr>
            <a:lvl5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 Narrow"/>
                <a:ea typeface="+mj-ea"/>
                <a:cs typeface="Arial"/>
              </a:rPr>
              <a:t>Real-world Effectiveness of Dolutegravir + Lamivudine (DTG + 3TC) in Treatment-Naive People With HIV-1 and Low CD4+ Cell Count or High Viral Load at Baseline: A Systematic Literature Review</a:t>
            </a:r>
          </a:p>
        </p:txBody>
      </p:sp>
      <p:sp>
        <p:nvSpPr>
          <p:cNvPr id="8" name="Subtitle 3">
            <a:extLst>
              <a:ext uri="{FF2B5EF4-FFF2-40B4-BE49-F238E27FC236}">
                <a16:creationId xmlns:a16="http://schemas.microsoft.com/office/drawing/2014/main" id="{A9AF140C-4F94-627B-53DC-C606A09107E2}"/>
              </a:ext>
            </a:extLst>
          </p:cNvPr>
          <p:cNvSpPr txBox="1">
            <a:spLocks/>
          </p:cNvSpPr>
          <p:nvPr/>
        </p:nvSpPr>
        <p:spPr bwMode="auto">
          <a:xfrm>
            <a:off x="0" y="3805510"/>
            <a:ext cx="12191999" cy="90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500" b="1" i="0">
                <a:solidFill>
                  <a:schemeClr val="tx2"/>
                </a:solidFill>
                <a:effectLst/>
                <a:latin typeface="Arial"/>
                <a:ea typeface="+mn-ea"/>
                <a:cs typeface="Arial"/>
              </a:defRPr>
            </a:lvl1pPr>
            <a:lvl2pPr marL="609585" indent="0" algn="ctr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17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9170" indent="0" algn="ctr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defRPr lang="en-US" sz="15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754" indent="0" algn="ctr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defRPr lang="en-US" sz="13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8339" marR="0" indent="0" algn="ctr" defTabSz="1231869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tabLst/>
              <a:defRPr lang="en-GB" sz="11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3047924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6pPr>
            <a:lvl7pPr marL="3657509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7pPr>
            <a:lvl8pPr marL="4267093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8pPr>
            <a:lvl9pPr marL="4876678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9pPr>
          </a:lstStyle>
          <a:p>
            <a:pPr algn="ctr"/>
            <a:r>
              <a:rPr lang="en-US" altLang="en-US" u="sng" kern="0" dirty="0">
                <a:latin typeface="Arial" panose="020B0604020202020204" pitchFamily="34" charset="0"/>
                <a:cs typeface="Arial" panose="020B0604020202020204" pitchFamily="34" charset="0"/>
              </a:rPr>
              <a:t>Emilio Letang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Tristan J. Barber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2,3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Clotilde Allavena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Laurent Hocqueloux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José Casado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Simona Di Giambenedetto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Alfonso Cabello-Úbeda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Antonella </a:t>
            </a:r>
            <a:r>
              <a:rPr lang="en-US" altLang="en-US" kern="0" dirty="0" err="1">
                <a:latin typeface="Arial" panose="020B0604020202020204" pitchFamily="34" charset="0"/>
                <a:cs typeface="Arial" panose="020B0604020202020204" pitchFamily="34" charset="0"/>
              </a:rPr>
              <a:t>d’Arminio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Monforte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Madhusudan Kabra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Julie Priest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Ana Milinkovic,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altLang="en-US" kern="0" dirty="0">
                <a:latin typeface="Arial" panose="020B0604020202020204" pitchFamily="34" charset="0"/>
                <a:cs typeface="Arial" panose="020B0604020202020204" pitchFamily="34" charset="0"/>
              </a:rPr>
              <a:t> Bryn Jones</a:t>
            </a:r>
            <a:r>
              <a:rPr lang="en-US" altLang="en-US" kern="0" baseline="30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BCF2192-0233-FF3D-DA01-112274F49FC1}"/>
              </a:ext>
            </a:extLst>
          </p:cNvPr>
          <p:cNvSpPr txBox="1">
            <a:spLocks/>
          </p:cNvSpPr>
          <p:nvPr/>
        </p:nvSpPr>
        <p:spPr bwMode="auto">
          <a:xfrm>
            <a:off x="148856" y="5123450"/>
            <a:ext cx="11791507" cy="859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None/>
              <a:defRPr sz="1150" i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47644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07987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defRPr lang="en-US"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36582" indent="0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defRPr lang="en-US"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54592" marR="0" indent="0" algn="l" defTabSz="1231869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tabLst/>
              <a:defRPr lang="en-GB"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iV Healthcare, Madrid, Spain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an Charleson Day Centre, Royal Free London NHS Foundation Trust, London, UK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stitute for Global Health, University College London, London, UK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HU Hôtel-Dieu, Nantes, France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e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ier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aire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’Orléans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Orléans, France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spital Universitario Ramón y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jal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Madrid, Spain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ndazione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liclinico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Universitario Agostino Gemelli IRCCS and </a:t>
            </a:r>
            <a:r>
              <a:rPr kumimoji="0" lang="en-GB" altLang="en-US" sz="1150" b="0" i="1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à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attolica del Sacro Cuore, Rome, Italy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ación Jimenez Diaz University Hospital, Madrid, Spain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‘San Paolo’ Hospital, University of Milan, Milan, Italy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iV Healthcare, Brentford, UK; </a:t>
            </a:r>
            <a:r>
              <a:rPr kumimoji="0" lang="en-GB" altLang="en-US" sz="1150" b="0" i="1" u="none" strike="noStrike" kern="0" cap="none" spc="0" normalizeH="0" baseline="3000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</a:t>
            </a:r>
            <a:r>
              <a:rPr kumimoji="0" lang="en-GB" altLang="en-US" sz="1150" b="0" i="1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iV Healthcare, Durham, NC, USA</a:t>
            </a:r>
          </a:p>
        </p:txBody>
      </p:sp>
    </p:spTree>
    <p:extLst>
      <p:ext uri="{BB962C8B-B14F-4D97-AF65-F5344CB8AC3E}">
        <p14:creationId xmlns:p14="http://schemas.microsoft.com/office/powerpoint/2010/main" val="515109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89255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600" b="1" dirty="0">
                <a:solidFill>
                  <a:schemeClr val="bg1"/>
                </a:solidFill>
              </a:rPr>
              <a:t>Breakdown of Real-world Publications Reporting Data on People With HIV-1 Initiating DTG + 3TC With Viral Load ≥100,000 Copies/mL and CD4+ Cell Count &lt;200 Cells/mm</a:t>
            </a:r>
            <a:r>
              <a:rPr lang="en-US" altLang="en-US" sz="2600" b="1" baseline="30000" dirty="0">
                <a:solidFill>
                  <a:schemeClr val="bg1"/>
                </a:solidFill>
              </a:rPr>
              <a:t>3</a:t>
            </a:r>
            <a:r>
              <a:rPr lang="en-US" altLang="en-US" sz="2600" b="1" dirty="0">
                <a:solidFill>
                  <a:schemeClr val="bg1"/>
                </a:solidFill>
              </a:rPr>
              <a:t> </a:t>
            </a:r>
            <a:endParaRPr kumimoji="0" lang="en-GB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>
            <a:off x="9122736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0839E90-794E-9DCD-8493-8A0DC0F243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2789" y="1426396"/>
            <a:ext cx="9327688" cy="4834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05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89255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cos"/>
                <a:ea typeface="+mn-ea"/>
                <a:cs typeface="Arial" panose="020B0604020202020204" pitchFamily="34" charset="0"/>
              </a:rPr>
              <a:t>Studies With Virologic Effectiveness Data for ≥10 Treatment-Naive People With HIV-1 and Baseline Viral Load ≥100,000 Copies/mL or CD4+ Cell Count &lt;200 Cells/mm3 </a:t>
            </a:r>
            <a:endParaRPr kumimoji="0" lang="en-GB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>
            <a:off x="9122736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AFAFBC0C-B79F-8EBB-DF64-91DD13BFB1FC}"/>
              </a:ext>
            </a:extLst>
          </p:cNvPr>
          <p:cNvSpPr txBox="1">
            <a:spLocks/>
          </p:cNvSpPr>
          <p:nvPr/>
        </p:nvSpPr>
        <p:spPr bwMode="auto">
          <a:xfrm>
            <a:off x="711200" y="1350964"/>
            <a:ext cx="1114425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2024" indent="-192024" algn="l" rtl="0" eaLnBrk="0" fontAlgn="base" hangingPunct="0"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7472" indent="-155448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93776" indent="-146304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1792" indent="-128016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31838" marR="0" indent="-119063" algn="l" defTabSz="1231869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 lang="en-GB"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192024" marR="0" lvl="0" indent="-192024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and 4 studies reported the virologic effectiveness of DTG + 3TC for ≥10 treatment-naive individuals with high baseline viral load or low baseline CD4+ cell count, respectively</a:t>
            </a:r>
          </a:p>
        </p:txBody>
      </p:sp>
      <p:sp>
        <p:nvSpPr>
          <p:cNvPr id="9" name="Slide Number Placeholder 11">
            <a:extLst>
              <a:ext uri="{FF2B5EF4-FFF2-40B4-BE49-F238E27FC236}">
                <a16:creationId xmlns:a16="http://schemas.microsoft.com/office/drawing/2014/main" id="{B1D5218C-D76A-392C-5D1E-22365B151294}"/>
              </a:ext>
            </a:extLst>
          </p:cNvPr>
          <p:cNvSpPr txBox="1">
            <a:spLocks/>
          </p:cNvSpPr>
          <p:nvPr/>
        </p:nvSpPr>
        <p:spPr>
          <a:xfrm>
            <a:off x="11736387" y="6519599"/>
            <a:ext cx="455611" cy="3365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24AC3FD-09E3-4FF5-A0F9-A72F20D7F301}" type="slidenum">
              <a:rPr lang="en-GB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GB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2">
            <a:extLst>
              <a:ext uri="{FF2B5EF4-FFF2-40B4-BE49-F238E27FC236}">
                <a16:creationId xmlns:a16="http://schemas.microsoft.com/office/drawing/2014/main" id="{1C9F9D13-C0E7-26D6-7240-6D91C88A5C77}"/>
              </a:ext>
            </a:extLst>
          </p:cNvPr>
          <p:cNvSpPr txBox="1">
            <a:spLocks/>
          </p:cNvSpPr>
          <p:nvPr/>
        </p:nvSpPr>
        <p:spPr bwMode="auto">
          <a:xfrm>
            <a:off x="6538913" y="6419850"/>
            <a:ext cx="5203825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 et al. EACS 2023; Warsaw, Poland. Poster eP.A.050.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DB45CA02-F837-DEB6-EF6A-1A4CA5AB17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2680" y="2046381"/>
            <a:ext cx="7406640" cy="407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9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89255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600" b="1" dirty="0">
                <a:solidFill>
                  <a:schemeClr val="bg1"/>
                </a:solidFill>
              </a:rPr>
              <a:t>Proportions of Individuals With Baseline Viral Load ≥100,000 Copies/mL Achieving Virologic Suppression at Weeks 24, 48, and 96</a:t>
            </a:r>
            <a:endParaRPr kumimoji="0" lang="en-GB" sz="2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>
            <a:off x="9122736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59B416A-A9D2-4FF4-93BF-B35735157E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170" y="2577683"/>
            <a:ext cx="11886830" cy="31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132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89255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en-US" sz="2600" b="1" dirty="0">
                <a:solidFill>
                  <a:schemeClr val="bg1"/>
                </a:solidFill>
              </a:rPr>
              <a:t>Proportion of Individuals With Baseline CD4+ Cell Count &lt;200 Cells/mm</a:t>
            </a:r>
            <a:r>
              <a:rPr lang="en-US" altLang="en-US" sz="2600" b="1" baseline="30000" dirty="0">
                <a:solidFill>
                  <a:schemeClr val="bg1"/>
                </a:solidFill>
              </a:rPr>
              <a:t>3</a:t>
            </a:r>
            <a:r>
              <a:rPr lang="en-US" altLang="en-US" sz="2600" b="1" dirty="0">
                <a:solidFill>
                  <a:schemeClr val="bg1"/>
                </a:solidFill>
              </a:rPr>
              <a:t> Achieving Virologic Suppression at Weeks 24, 48, and 96</a:t>
            </a:r>
            <a:endParaRPr lang="es-ES" sz="2600" b="1" dirty="0">
              <a:solidFill>
                <a:schemeClr val="bg1"/>
              </a:solidFill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>
            <a:off x="9122736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BFB20D-09F1-7A2C-0EB2-6AEB619139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784" y="1652651"/>
            <a:ext cx="8046720" cy="4211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64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3000" b="1" dirty="0">
                <a:solidFill>
                  <a:schemeClr val="bg1"/>
                </a:solidFill>
                <a:latin typeface="Calibri cos"/>
                <a:cs typeface="Arial" panose="020B0604020202020204" pitchFamily="34" charset="0"/>
              </a:rPr>
              <a:t>Conflicts of interest</a:t>
            </a: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cos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Rectangle 4"/>
          <p:cNvSpPr/>
          <p:nvPr/>
        </p:nvSpPr>
        <p:spPr>
          <a:xfrm>
            <a:off x="97766" y="1689196"/>
            <a:ext cx="1209423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al grants (HIV Unit): UAB, MAG, Primavera Sound group.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noraria and travel sponsorship: Merck Sharp &amp; </a:t>
            </a:r>
            <a:r>
              <a:rPr lang="en-GB" altLang="en-US" sz="2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hme</a:t>
            </a: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ilead Sciences, Janssen, </a:t>
            </a:r>
            <a:r>
              <a:rPr lang="en-GB" altLang="en-US" sz="2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V</a:t>
            </a: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althcare.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investigator in clinical trials sponsored: Merck Sharp &amp; </a:t>
            </a:r>
            <a:r>
              <a:rPr lang="en-GB" altLang="en-US" sz="2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hme</a:t>
            </a: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ilead Sciences, Janssen, </a:t>
            </a:r>
            <a:r>
              <a:rPr lang="en-GB" altLang="en-US" sz="2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V</a:t>
            </a: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althcare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a patent holder or a shareholder 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disclosures for any family members </a:t>
            </a:r>
          </a:p>
        </p:txBody>
      </p:sp>
    </p:spTree>
    <p:extLst>
      <p:ext uri="{BB962C8B-B14F-4D97-AF65-F5344CB8AC3E}">
        <p14:creationId xmlns:p14="http://schemas.microsoft.com/office/powerpoint/2010/main" val="139600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45858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ea typeface="+mj-ea"/>
                <a:cs typeface="Arial" panose="020B0604020202020204" pitchFamily="34" charset="0"/>
              </a:rPr>
              <a:t>Virologic Outcomes in Treatment-Naive Populations With High Baseline Viral Load</a:t>
            </a:r>
            <a:endParaRPr kumimoji="0" lang="en-US" altLang="en-US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>
            <a:off x="9122736" y="6643143"/>
            <a:ext cx="2992143" cy="182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t al. EACS 2023; Warsaw, Poland. Poster eP.A.050.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76A16B03-8689-88CE-7F10-AD9947D894AB}"/>
              </a:ext>
            </a:extLst>
          </p:cNvPr>
          <p:cNvSpPr txBox="1">
            <a:spLocks/>
          </p:cNvSpPr>
          <p:nvPr/>
        </p:nvSpPr>
        <p:spPr bwMode="auto">
          <a:xfrm>
            <a:off x="711200" y="1350964"/>
            <a:ext cx="11144251" cy="434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2024" indent="-192024" algn="l" rtl="0" eaLnBrk="0" fontAlgn="base" hangingPunct="0"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SzPct val="115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7472" indent="-155448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93776" indent="-146304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21792" indent="-128016" algn="l" rtl="0" eaLnBrk="0" fontAlgn="base" hangingPunct="0"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731838" marR="0" indent="-119063" algn="l" defTabSz="1231869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 lang="en-GB"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192024" marR="0" lvl="0" indent="-192024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all, the proportion of individuals with high baseline viral load who achieved virologic suppression was 76% (61/80) at Week 24, 97% (208/215) at Week 48, and 87% (39/45) </a:t>
            </a:r>
            <a:b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 Week 96</a:t>
            </a:r>
          </a:p>
          <a:p>
            <a:pPr marL="192024" marR="0" lvl="0" indent="-192024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ong studies reporting data for ≥10 individuals with high baseline viral load from the same cohort, the proportion with HIV-1 RNA &lt;50 copies/mL ranged from 50% (5/10) to 88% (37/42) </a:t>
            </a:r>
            <a:b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t Week 24 and from 81% (13/16) to 100% (152/152) at Week 48; at Week 96, one study reported that 87% (39/45) of individuals were virologically suppressed</a:t>
            </a:r>
          </a:p>
          <a:p>
            <a:pPr marL="347472" marR="0" lvl="1" indent="-155448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a longitudinal cohort study following individuals with baseline viral load ≥500,000 copies/mL, the proportion achieving virologic suppression increased from 59% (13/22) at Week 24 to 95% (21/22) at Week 48</a:t>
            </a:r>
          </a:p>
          <a:p>
            <a:pPr marL="192024" marR="0" lvl="0" indent="-192024" algn="l" defTabSz="914400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E40046"/>
              </a:buClr>
              <a:buSzPct val="11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ing inverse-variance weighting methods with a correction of 0.01% for studies with 100% suppression, the pooled proportions of individuals with high baseline viral load from studies with </a:t>
            </a:r>
            <a:b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≥10 who achieved virologic suppression were 80.3% at Week 24, &gt;99.9% at Week 48, and 87% at Week 96</a:t>
            </a:r>
          </a:p>
        </p:txBody>
      </p:sp>
      <p:sp>
        <p:nvSpPr>
          <p:cNvPr id="8" name="Title 25">
            <a:extLst>
              <a:ext uri="{FF2B5EF4-FFF2-40B4-BE49-F238E27FC236}">
                <a16:creationId xmlns:a16="http://schemas.microsoft.com/office/drawing/2014/main" id="{A61230AE-FFA6-DE33-FF52-3AFC8D59744F}"/>
              </a:ext>
            </a:extLst>
          </p:cNvPr>
          <p:cNvSpPr txBox="1">
            <a:spLocks/>
          </p:cNvSpPr>
          <p:nvPr/>
        </p:nvSpPr>
        <p:spPr bwMode="auto">
          <a:xfrm>
            <a:off x="711199" y="152400"/>
            <a:ext cx="11144251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2pPr>
            <a:lvl3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3pPr>
            <a:lvl4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4pPr>
            <a:lvl5pPr algn="l" rtl="0" eaLnBrk="0" fontAlgn="base" hangingPunct="0">
              <a:lnSpc>
                <a:spcPts val="4667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E31836"/>
                </a:solidFill>
                <a:latin typeface="Arial" pitchFamily="34" charset="0"/>
                <a:cs typeface="Arial" charset="0"/>
              </a:defRPr>
            </a:lvl5pPr>
            <a:lvl6pPr marL="609585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6pPr>
            <a:lvl7pPr marL="121917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7pPr>
            <a:lvl8pPr marL="1828754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8pPr>
            <a:lvl9pPr marL="2438339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B61229"/>
                </a:solidFill>
                <a:latin typeface="Century Gothic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200" b="1" i="0" u="none" strike="noStrike" kern="0" cap="none" spc="0" normalizeH="0" baseline="0" noProof="0" dirty="0">
              <a:ln>
                <a:noFill/>
              </a:ln>
              <a:solidFill>
                <a:srgbClr val="E40046"/>
              </a:solidFill>
              <a:effectLst/>
              <a:uLnTx/>
              <a:uFillTx/>
              <a:latin typeface="Arial Narrow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Text Placeholder 22">
            <a:extLst>
              <a:ext uri="{FF2B5EF4-FFF2-40B4-BE49-F238E27FC236}">
                <a16:creationId xmlns:a16="http://schemas.microsoft.com/office/drawing/2014/main" id="{60E301AE-CE81-51FD-215C-9624768610A1}"/>
              </a:ext>
            </a:extLst>
          </p:cNvPr>
          <p:cNvSpPr txBox="1">
            <a:spLocks/>
          </p:cNvSpPr>
          <p:nvPr/>
        </p:nvSpPr>
        <p:spPr bwMode="auto">
          <a:xfrm>
            <a:off x="6538913" y="6419850"/>
            <a:ext cx="5203825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tang et al. EACS 2023; Warsaw, Poland. Poster eP.A.050.</a:t>
            </a:r>
          </a:p>
        </p:txBody>
      </p:sp>
    </p:spTree>
    <p:extLst>
      <p:ext uri="{BB962C8B-B14F-4D97-AF65-F5344CB8AC3E}">
        <p14:creationId xmlns:p14="http://schemas.microsoft.com/office/powerpoint/2010/main" val="286672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187569" y="6519446"/>
            <a:ext cx="11801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ACS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uidelin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12.0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ctober</a:t>
            </a:r>
            <a:r>
              <a:rPr kumimoji="0" lang="es-ES_tradnl" sz="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2023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vailabl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at: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2"/>
              </a:rPr>
              <a:t>https://www.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  <a:hlinkClick r:id="rId3"/>
              </a:rPr>
              <a:t>https://www.eacsociety.org/media/guidelines-12.0.pdf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</a:rPr>
              <a:t>. 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AS-USA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uidelin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  <a:r>
              <a:rPr kumimoji="0" lang="es-ES_tradnl" sz="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Gandhi 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JAMA </a:t>
            </a:r>
            <a:r>
              <a:rPr lang="es-ES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; 329(1):63-84. doi:10.1001/jama.2022.22246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HHS. 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vailabl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at </a:t>
            </a:r>
            <a:r>
              <a:rPr lang="es-ES_tradnl" sz="800" u="sng" dirty="0">
                <a:solidFill>
                  <a:prstClr val="black"/>
                </a:solidFill>
                <a:cs typeface="Arial" panose="020B0604020202020204" pitchFamily="34" charset="0"/>
                <a:hlinkClick r:id="rId4"/>
              </a:rPr>
              <a:t>https://clinicalinfo.hiv.gov/en/guidelines/hiv-clinical-guidelines-adult-and-adolescent-arv/whats-new</a:t>
            </a:r>
            <a:r>
              <a:rPr lang="es-ES_tradnl" sz="800" u="sng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lang="es-ES_tradnl" sz="8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ptember</a:t>
            </a:r>
            <a:r>
              <a:rPr lang="es-ES_tradnl" sz="8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21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2022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eSIDA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/PNS TAR en adultos infectados por el VIH (Actualización enero 2023). Disponible en: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5"/>
              </a:rPr>
              <a:t>https://gesida-seimc.org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5F22C11C-5278-AA4E-AF0B-C114B1C175A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95246" y="1941982"/>
          <a:ext cx="11824621" cy="43905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6479">
                  <a:extLst>
                    <a:ext uri="{9D8B030D-6E8A-4147-A177-3AD203B41FA5}">
                      <a16:colId xmlns:a16="http://schemas.microsoft.com/office/drawing/2014/main" val="1365120815"/>
                    </a:ext>
                  </a:extLst>
                </a:gridCol>
                <a:gridCol w="2252539">
                  <a:extLst>
                    <a:ext uri="{9D8B030D-6E8A-4147-A177-3AD203B41FA5}">
                      <a16:colId xmlns:a16="http://schemas.microsoft.com/office/drawing/2014/main" val="474767831"/>
                    </a:ext>
                  </a:extLst>
                </a:gridCol>
                <a:gridCol w="2417804">
                  <a:extLst>
                    <a:ext uri="{9D8B030D-6E8A-4147-A177-3AD203B41FA5}">
                      <a16:colId xmlns:a16="http://schemas.microsoft.com/office/drawing/2014/main" val="1734253374"/>
                    </a:ext>
                  </a:extLst>
                </a:gridCol>
                <a:gridCol w="3070232">
                  <a:extLst>
                    <a:ext uri="{9D8B030D-6E8A-4147-A177-3AD203B41FA5}">
                      <a16:colId xmlns:a16="http://schemas.microsoft.com/office/drawing/2014/main" val="1762142606"/>
                    </a:ext>
                  </a:extLst>
                </a:gridCol>
                <a:gridCol w="2507567">
                  <a:extLst>
                    <a:ext uri="{9D8B030D-6E8A-4147-A177-3AD203B41FA5}">
                      <a16:colId xmlns:a16="http://schemas.microsoft.com/office/drawing/2014/main" val="4218676828"/>
                    </a:ext>
                  </a:extLst>
                </a:gridCol>
              </a:tblGrid>
              <a:tr h="885315">
                <a:tc>
                  <a:txBody>
                    <a:bodyPr/>
                    <a:lstStyle/>
                    <a:p>
                      <a:endParaRPr lang="es-E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HHS </a:t>
                      </a:r>
                      <a:r>
                        <a:rPr lang="es-E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ch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3, 2023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t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ople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CS 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3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AS-USA </a:t>
                      </a:r>
                      <a:r>
                        <a:rPr lang="es-E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2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SIDA 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ferr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776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TG/3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NRTI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AL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I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V-VL &lt; 500,000 copies/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25" marR="47625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V-VL &lt; 500,000 copies/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hap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D4 &lt; 200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l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clear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pi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TDR)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O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os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itoring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herence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s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afety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antage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DR.</a:t>
                      </a:r>
                    </a:p>
                    <a:p>
                      <a:r>
                        <a:rPr lang="en-US" sz="100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n-US" sz="1000" baseline="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commended during </a:t>
                      </a:r>
                      <a:r>
                        <a:rPr lang="en-US" sz="1000" baseline="0" noProof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c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</a:t>
                      </a:r>
                    </a:p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</a:t>
                      </a: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DR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a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ain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NNRTI, 2 NRTI, PI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I)</a:t>
                      </a:r>
                    </a:p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791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TG/RP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NRTI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I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cern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BC and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sk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MI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 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C/FTC/TAF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TG/ABC/3TC*</a:t>
                      </a:r>
                    </a:p>
                    <a:p>
                      <a:endParaRPr lang="es-ES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BC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</a:t>
                      </a: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NRTI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AL, EVG/c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TG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25" marR="47625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DF renal and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n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xicit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ociat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ea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I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986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BC 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BIC, TAF)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ociat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ea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00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n-US" sz="1000" baseline="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commended during </a:t>
                      </a:r>
                      <a:r>
                        <a:rPr lang="en-US" sz="1000" baseline="0" noProof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cy</a:t>
                      </a:r>
                      <a:endParaRPr lang="en-US" sz="10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870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R </a:t>
                      </a:r>
                      <a:r>
                        <a:rPr lang="es-ES" sz="13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P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favirenz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om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I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nc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480042"/>
                  </a:ext>
                </a:extLst>
              </a:tr>
            </a:tbl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E7968727-073B-BA48-8641-8CF4E789457C}"/>
              </a:ext>
            </a:extLst>
          </p:cNvPr>
          <p:cNvSpPr txBox="1"/>
          <p:nvPr/>
        </p:nvSpPr>
        <p:spPr>
          <a:xfrm>
            <a:off x="130538" y="1142866"/>
            <a:ext cx="1187696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Maintain</a:t>
            </a:r>
            <a:r>
              <a:rPr lang="en-AE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virological suppression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ithou</a:t>
            </a:r>
            <a:r>
              <a:rPr lang="es-ES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</a:t>
            </a:r>
            <a:r>
              <a:rPr lang="en-AE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jeopardizing future treatment options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en-AE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t is critical to review ART history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lang="en-AE" sz="1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 the settings of existing NRTI resistance, should be included in the regimen with a fully active and high  barrier drugs (DTG, BIC, boost DRV   </a:t>
            </a:r>
            <a:endParaRPr kumimoji="0" lang="en-AE" sz="16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0ADD8F4F-166D-7342-872A-8D7A1E5D5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1907" y="1072965"/>
            <a:ext cx="146050" cy="146050"/>
          </a:xfrm>
          <a:prstGeom prst="rect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2B85B8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alt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20" name="TextBox 2">
            <a:extLst>
              <a:ext uri="{FF2B5EF4-FFF2-40B4-BE49-F238E27FC236}">
                <a16:creationId xmlns:a16="http://schemas.microsoft.com/office/drawing/2014/main" id="{5FB049C0-A72A-3B46-AAC2-07B5A7300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6196" y="1015185"/>
            <a:ext cx="241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Preferred/recommended</a:t>
            </a: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BCC42413-37BA-9C49-A7CF-9772905C17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9607" y="988000"/>
            <a:ext cx="317873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Recommended</a:t>
            </a: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 certain clinical situations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86BF1E9A-774E-E446-BFFF-F7358271C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2486" y="1066924"/>
            <a:ext cx="146050" cy="146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2B85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368F38F1-B708-375E-1A53-979B6C11025D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900" b="1" dirty="0">
                <a:solidFill>
                  <a:schemeClr val="bg1"/>
                </a:solidFill>
              </a:rPr>
              <a:t>Optimizing Antiretroviral Therapy in the Setting of Viral Suppression</a:t>
            </a:r>
            <a:r>
              <a:rPr lang="en-US" sz="3000" b="1" dirty="0">
                <a:solidFill>
                  <a:schemeClr val="bg1"/>
                </a:solidFill>
                <a:latin typeface="+mn-lt"/>
              </a:rPr>
              <a:t>.</a:t>
            </a:r>
            <a:endParaRPr kumimoji="0" lang="en-US" sz="3000" b="1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cxnSp>
        <p:nvCxnSpPr>
          <p:cNvPr id="4" name="Connector recte 3"/>
          <p:cNvCxnSpPr/>
          <p:nvPr/>
        </p:nvCxnSpPr>
        <p:spPr>
          <a:xfrm>
            <a:off x="6487064" y="2803585"/>
            <a:ext cx="1802921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 recte 16"/>
          <p:cNvCxnSpPr/>
          <p:nvPr/>
        </p:nvCxnSpPr>
        <p:spPr>
          <a:xfrm>
            <a:off x="6501448" y="3128505"/>
            <a:ext cx="1802921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>
            <a:extLst>
              <a:ext uri="{FF2B5EF4-FFF2-40B4-BE49-F238E27FC236}">
                <a16:creationId xmlns:a16="http://schemas.microsoft.com/office/drawing/2014/main" id="{4AB41DAD-8E88-D9C9-6071-11DDA89D9390}"/>
              </a:ext>
            </a:extLst>
          </p:cNvPr>
          <p:cNvSpPr txBox="1"/>
          <p:nvPr/>
        </p:nvSpPr>
        <p:spPr>
          <a:xfrm>
            <a:off x="95415" y="6289483"/>
            <a:ext cx="23297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s-ES" sz="1000" b="1" dirty="0">
                <a:latin typeface="Calibri" panose="020F0502020204030204" pitchFamily="34" charset="0"/>
                <a:cs typeface="Calibri" panose="020F0502020204030204" pitchFamily="34" charset="0"/>
              </a:rPr>
              <a:t> GESIDA </a:t>
            </a:r>
            <a:r>
              <a:rPr lang="es-ES" sz="1000" b="1" dirty="0" err="1">
                <a:latin typeface="Calibri" panose="020F0502020204030204" pitchFamily="34" charset="0"/>
                <a:cs typeface="Calibri" panose="020F0502020204030204" pitchFamily="34" charset="0"/>
              </a:rPr>
              <a:t>guidelines</a:t>
            </a:r>
            <a:endParaRPr lang="es-ES" sz="1000" dirty="0"/>
          </a:p>
        </p:txBody>
      </p:sp>
    </p:spTree>
    <p:extLst>
      <p:ext uri="{BB962C8B-B14F-4D97-AF65-F5344CB8AC3E}">
        <p14:creationId xmlns:p14="http://schemas.microsoft.com/office/powerpoint/2010/main" val="20247945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954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b="1" dirty="0">
                <a:solidFill>
                  <a:schemeClr val="bg1"/>
                </a:solidFill>
                <a:latin typeface="Arial" charset="0"/>
                <a:cs typeface="Arial" charset="0"/>
              </a:rPr>
              <a:t>Switch to DOVATO in Patients Suppressed on </a:t>
            </a:r>
            <a:r>
              <a:rPr lang="en-US" altLang="en-US" sz="28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Biktarvy</a:t>
            </a:r>
            <a:r>
              <a:rPr lang="en-US" altLang="en-US" sz="2800" b="1" dirty="0">
                <a:solidFill>
                  <a:schemeClr val="bg1"/>
                </a:solidFill>
                <a:latin typeface="Arial" charset="0"/>
                <a:cs typeface="Arial" charset="0"/>
              </a:rPr>
              <a:t> (The SOUND Study), Week 48 Interim Analysis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16A9318-7C90-D22D-2EBC-B895FB9DF623}"/>
              </a:ext>
            </a:extLst>
          </p:cNvPr>
          <p:cNvSpPr txBox="1">
            <a:spLocks/>
          </p:cNvSpPr>
          <p:nvPr/>
        </p:nvSpPr>
        <p:spPr>
          <a:xfrm>
            <a:off x="6475228" y="6430943"/>
            <a:ext cx="7216670" cy="129346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800" dirty="0"/>
              <a:t>Slim et al. </a:t>
            </a:r>
            <a:r>
              <a:rPr lang="en-US" altLang="en-US" sz="1800" dirty="0" err="1"/>
              <a:t>IDWeek</a:t>
            </a:r>
            <a:r>
              <a:rPr lang="en-US" altLang="en-US" sz="1800" dirty="0"/>
              <a:t> 2023; Boston, MA. Poster 1593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A2A5C26-356A-F684-CCD6-E560CC4BFEDA}"/>
              </a:ext>
            </a:extLst>
          </p:cNvPr>
          <p:cNvSpPr txBox="1"/>
          <p:nvPr/>
        </p:nvSpPr>
        <p:spPr>
          <a:xfrm>
            <a:off x="0" y="1255216"/>
            <a:ext cx="122770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dirty="0"/>
              <a:t>To report results from the Week 48 interim analysis of the SOUND study, evaluating virologically suppressed patients on </a:t>
            </a:r>
            <a:r>
              <a:rPr lang="en-US" altLang="en-US" dirty="0" err="1"/>
              <a:t>bictegravir</a:t>
            </a:r>
            <a:r>
              <a:rPr lang="en-US" altLang="en-US" dirty="0"/>
              <a:t>/emtricitabine/tenofovir-alafenamide (B/F/TAF) who were switched to DTG/3TC</a:t>
            </a:r>
          </a:p>
          <a:p>
            <a:endParaRPr lang="en-US" altLang="en-US" dirty="0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6DCADD89-8AA0-E93D-1CD5-CBBB6DAB3CBE}"/>
              </a:ext>
            </a:extLst>
          </p:cNvPr>
          <p:cNvSpPr txBox="1"/>
          <p:nvPr/>
        </p:nvSpPr>
        <p:spPr>
          <a:xfrm>
            <a:off x="0" y="979599"/>
            <a:ext cx="68739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b="1" dirty="0"/>
              <a:t>Study Objective</a:t>
            </a:r>
            <a:endParaRPr lang="es-ES" b="1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600AAC9-35CA-11E8-7CAC-2273E81C7E01}"/>
              </a:ext>
            </a:extLst>
          </p:cNvPr>
          <p:cNvSpPr txBox="1"/>
          <p:nvPr/>
        </p:nvSpPr>
        <p:spPr>
          <a:xfrm>
            <a:off x="0" y="1951058"/>
            <a:ext cx="121920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altLang="en-US" b="1" dirty="0"/>
              <a:t>Inclusion criteria: 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HIV VL &lt; 50 copies/ml for ≥ 6 months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Taking B/F/TAF ≥24 weeks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No known resistance testing, no history of virological failure in prior 12 months </a:t>
            </a:r>
          </a:p>
          <a:p>
            <a:pPr>
              <a:spcBef>
                <a:spcPts val="300"/>
              </a:spcBef>
            </a:pPr>
            <a:r>
              <a:rPr lang="en-US" altLang="en-US" b="1" dirty="0"/>
              <a:t>Primary end point: 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% of patients with HIV-1 VL ≥ 50 copies/mL at week 48</a:t>
            </a:r>
          </a:p>
          <a:p>
            <a:pPr>
              <a:spcBef>
                <a:spcPts val="300"/>
              </a:spcBef>
            </a:pPr>
            <a:r>
              <a:rPr lang="en-US" altLang="en-US" b="1" dirty="0"/>
              <a:t>Secondary end points: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At weeks 48 and 96 include: percentage of patients with HIV-1 VL &lt; 50 copies/mL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Incidence and severity of adverse events (AEs) and laboratory abnormalities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% of subjects who discontinued treatment due to AEs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Change in baseline CD4 cell count at week 48 and 96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Retrospective pro-viral DNA testing on banked samples at baseline to compare virologic outcome (with or without M184V/I)</a:t>
            </a:r>
          </a:p>
          <a:p>
            <a:pPr lvl="1">
              <a:spcBef>
                <a:spcPts val="300"/>
              </a:spcBef>
            </a:pPr>
            <a:r>
              <a:rPr lang="en-US" altLang="en-US" dirty="0"/>
              <a:t>Number and type of resistance-associated mutations in virologic failure</a:t>
            </a:r>
          </a:p>
        </p:txBody>
      </p:sp>
    </p:spTree>
    <p:extLst>
      <p:ext uri="{BB962C8B-B14F-4D97-AF65-F5344CB8AC3E}">
        <p14:creationId xmlns:p14="http://schemas.microsoft.com/office/powerpoint/2010/main" val="159128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954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b="1" dirty="0">
                <a:solidFill>
                  <a:schemeClr val="bg1"/>
                </a:solidFill>
                <a:latin typeface="Arial" charset="0"/>
                <a:cs typeface="Arial" charset="0"/>
              </a:rPr>
              <a:t>Switch to DOVATO in Patients Suppressed on </a:t>
            </a:r>
            <a:r>
              <a:rPr lang="en-US" altLang="en-US" sz="2800" b="1" dirty="0" err="1">
                <a:solidFill>
                  <a:schemeClr val="bg1"/>
                </a:solidFill>
                <a:latin typeface="Arial" charset="0"/>
                <a:cs typeface="Arial" charset="0"/>
              </a:rPr>
              <a:t>Biktarvy</a:t>
            </a:r>
            <a:r>
              <a:rPr lang="en-US" altLang="en-US" sz="2800" b="1" dirty="0">
                <a:solidFill>
                  <a:schemeClr val="bg1"/>
                </a:solidFill>
                <a:latin typeface="Arial" charset="0"/>
                <a:cs typeface="Arial" charset="0"/>
              </a:rPr>
              <a:t> (The SOUND Study), Week 48 Interim Analysis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16A9318-7C90-D22D-2EBC-B895FB9DF623}"/>
              </a:ext>
            </a:extLst>
          </p:cNvPr>
          <p:cNvSpPr txBox="1">
            <a:spLocks/>
          </p:cNvSpPr>
          <p:nvPr/>
        </p:nvSpPr>
        <p:spPr>
          <a:xfrm>
            <a:off x="6475228" y="6430943"/>
            <a:ext cx="7216670" cy="129346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1800" dirty="0"/>
              <a:t>Slim et al. </a:t>
            </a:r>
            <a:r>
              <a:rPr lang="en-US" altLang="en-US" sz="1800" dirty="0" err="1"/>
              <a:t>IDWeek</a:t>
            </a:r>
            <a:r>
              <a:rPr lang="en-US" altLang="en-US" sz="1800" dirty="0"/>
              <a:t> 2023; Boston, MA. Poster 1593.</a:t>
            </a:r>
          </a:p>
        </p:txBody>
      </p:sp>
      <p:pic>
        <p:nvPicPr>
          <p:cNvPr id="2" name="Picture 4">
            <a:extLst>
              <a:ext uri="{FF2B5EF4-FFF2-40B4-BE49-F238E27FC236}">
                <a16:creationId xmlns:a16="http://schemas.microsoft.com/office/drawing/2014/main" id="{B75BBA60-7B57-3CDD-ED62-91FC9CFDB8F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14" y="1162095"/>
            <a:ext cx="5367251" cy="4931187"/>
          </a:xfrm>
          <a:prstGeom prst="rect">
            <a:avLst/>
          </a:prstGeom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61FC4C3B-BE0E-4A23-1A65-1501703860A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6039" y="1611089"/>
            <a:ext cx="4937760" cy="365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2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ADCE52EF-8B28-6BF2-047E-34A16134CA5C}"/>
              </a:ext>
            </a:extLst>
          </p:cNvPr>
          <p:cNvSpPr txBox="1">
            <a:spLocks/>
          </p:cNvSpPr>
          <p:nvPr/>
        </p:nvSpPr>
        <p:spPr bwMode="auto">
          <a:xfrm>
            <a:off x="184935" y="636997"/>
            <a:ext cx="11363218" cy="1830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189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377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566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754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GB" sz="3800" dirty="0"/>
              <a:t>Switching to Dolutegravir/Lamivudine (DTG/3TC) Is Non-inferior to Continuing Tenofovir Alafenamide (TAF)-Based Regimens at Week 196: TANGO Subgroup Analyses</a:t>
            </a:r>
            <a:endParaRPr lang="en-US" sz="3800" dirty="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6B02090-D93B-2E01-D623-91B8E1F94E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785" y="3211014"/>
            <a:ext cx="9169179" cy="1627773"/>
          </a:xfrm>
          <a:prstGeom prst="rect">
            <a:avLst/>
          </a:prstGeom>
        </p:spPr>
      </p:pic>
      <p:sp>
        <p:nvSpPr>
          <p:cNvPr id="7" name="TextBox 2">
            <a:extLst>
              <a:ext uri="{FF2B5EF4-FFF2-40B4-BE49-F238E27FC236}">
                <a16:creationId xmlns:a16="http://schemas.microsoft.com/office/drawing/2014/main" id="{C9E68890-78CC-78BA-F453-2932A54120BD}"/>
              </a:ext>
            </a:extLst>
          </p:cNvPr>
          <p:cNvSpPr txBox="1"/>
          <p:nvPr/>
        </p:nvSpPr>
        <p:spPr bwMode="auto">
          <a:xfrm>
            <a:off x="71919" y="6253810"/>
            <a:ext cx="119077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="1" dirty="0" err="1">
                <a:solidFill>
                  <a:srgbClr val="071D49"/>
                </a:solidFill>
                <a:latin typeface="Calibri" panose="020F0502020204030204" pitchFamily="34" charset="0"/>
              </a:rPr>
              <a:t>Referencia</a:t>
            </a:r>
            <a:r>
              <a:rPr lang="en-US" sz="900" b="1" dirty="0">
                <a:solidFill>
                  <a:srgbClr val="071D49"/>
                </a:solidFill>
                <a:latin typeface="Calibri" panose="020F0502020204030204" pitchFamily="34" charset="0"/>
              </a:rPr>
              <a:t>: 1. 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Smith D.E.,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Routy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J.-P., Scholten S., et al. Switching to Dolutegravir/Lamivudine (DTG/3TC) is non-inferior to continuing tenofovir alafenamide (TAF)-based regimens at Week 196: TANGO subgroup analyses. Poster EPB0218.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Presentado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en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IAS 2023, the 12th IAS Conference on HIV Science. </a:t>
            </a:r>
            <a:r>
              <a:rPr lang="es-ES_tradnl" sz="900" dirty="0">
                <a:solidFill>
                  <a:srgbClr val="071D49"/>
                </a:solidFill>
                <a:latin typeface="Calibri" panose="020F0502020204030204" pitchFamily="34" charset="0"/>
              </a:rPr>
              <a:t>23–26 Julio 2023. Brisbane, Australia. Disponible en: https://www.natap.org/2023/IAS/IAS_27.htm Acceso realizado septiembre 2023</a:t>
            </a:r>
          </a:p>
        </p:txBody>
      </p:sp>
    </p:spTree>
    <p:extLst>
      <p:ext uri="{BB962C8B-B14F-4D97-AF65-F5344CB8AC3E}">
        <p14:creationId xmlns:p14="http://schemas.microsoft.com/office/powerpoint/2010/main" val="51007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73866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200" b="1" dirty="0">
                <a:solidFill>
                  <a:schemeClr val="bg1"/>
                </a:solidFill>
              </a:rPr>
              <a:t>TANGO Study Design</a:t>
            </a:r>
            <a:endParaRPr kumimoji="0" lang="en-GB" sz="4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BA4325BC-8454-01B9-D559-C269F373FA1B}"/>
              </a:ext>
            </a:extLst>
          </p:cNvPr>
          <p:cNvSpPr txBox="1"/>
          <p:nvPr/>
        </p:nvSpPr>
        <p:spPr bwMode="auto">
          <a:xfrm>
            <a:off x="71919" y="6253810"/>
            <a:ext cx="119077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="1" dirty="0" err="1">
                <a:solidFill>
                  <a:srgbClr val="071D49"/>
                </a:solidFill>
                <a:latin typeface="Calibri" panose="020F0502020204030204" pitchFamily="34" charset="0"/>
              </a:rPr>
              <a:t>Referencia</a:t>
            </a:r>
            <a:r>
              <a:rPr lang="en-US" sz="900" b="1" dirty="0">
                <a:solidFill>
                  <a:srgbClr val="071D49"/>
                </a:solidFill>
                <a:latin typeface="Calibri" panose="020F0502020204030204" pitchFamily="34" charset="0"/>
              </a:rPr>
              <a:t>: 1. 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Smith D.E.,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Routy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J.-P., Scholten S., et al. Switching to Dolutegravir/Lamivudine (DTG/3TC) is non-inferior to continuing tenofovir alafenamide (TAF)-based regimens at Week 196: TANGO subgroup analyses. Poster EPB0218.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Presentado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en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IAS 2023, the 12th IAS Conference on HIV Science. </a:t>
            </a:r>
            <a:r>
              <a:rPr lang="es-ES_tradnl" sz="900" dirty="0">
                <a:solidFill>
                  <a:srgbClr val="071D49"/>
                </a:solidFill>
                <a:latin typeface="Calibri" panose="020F0502020204030204" pitchFamily="34" charset="0"/>
              </a:rPr>
              <a:t>23–26 Julio 2023. Brisbane, Australia. Disponible en: https://www.natap.org/2023/IAS/IAS_27.htm Acceso realizado septiembre 2023</a:t>
            </a: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FB824AAC-43EA-7FCB-D3D1-B35D4428A1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2445"/>
          <a:stretch/>
        </p:blipFill>
        <p:spPr>
          <a:xfrm>
            <a:off x="-71919" y="1258289"/>
            <a:ext cx="12192000" cy="477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23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cos"/>
                <a:cs typeface="Arial" panose="020B0604020202020204" pitchFamily="34" charset="0"/>
              </a:rPr>
              <a:t>Participant Demographics and Baseline Characteristics (ITT-E Population)</a:t>
            </a: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BA4325BC-8454-01B9-D559-C269F373FA1B}"/>
              </a:ext>
            </a:extLst>
          </p:cNvPr>
          <p:cNvSpPr txBox="1"/>
          <p:nvPr/>
        </p:nvSpPr>
        <p:spPr bwMode="auto">
          <a:xfrm>
            <a:off x="71919" y="6253810"/>
            <a:ext cx="119077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="1" dirty="0" err="1">
                <a:solidFill>
                  <a:srgbClr val="071D49"/>
                </a:solidFill>
                <a:latin typeface="Calibri" panose="020F0502020204030204" pitchFamily="34" charset="0"/>
              </a:rPr>
              <a:t>Referencia</a:t>
            </a:r>
            <a:r>
              <a:rPr lang="en-US" sz="900" b="1" dirty="0">
                <a:solidFill>
                  <a:srgbClr val="071D49"/>
                </a:solidFill>
                <a:latin typeface="Calibri" panose="020F0502020204030204" pitchFamily="34" charset="0"/>
              </a:rPr>
              <a:t>: 1. 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Smith D.E.,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Routy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J.-P., Scholten S., et al. Switching to Dolutegravir/Lamivudine (DTG/3TC) is non-inferior to continuing tenofovir alafenamide (TAF)-based regimens at Week 196: TANGO subgroup analyses. Poster EPB0218.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Presentado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en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IAS 2023, the 12th IAS Conference on HIV Science. </a:t>
            </a:r>
            <a:r>
              <a:rPr lang="es-ES_tradnl" sz="900" dirty="0">
                <a:solidFill>
                  <a:srgbClr val="071D49"/>
                </a:solidFill>
                <a:latin typeface="Calibri" panose="020F0502020204030204" pitchFamily="34" charset="0"/>
              </a:rPr>
              <a:t>23–26 Julio 2023. Brisbane, Australia. Disponible en: https://www.natap.org/2023/IAS/IAS_27.htm Acceso realizado septiembre 2023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4ED0DDB-1681-4686-3712-AA64F325ED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1732" y="810541"/>
            <a:ext cx="11528535" cy="52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3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cos"/>
                <a:cs typeface="Arial" panose="020B0604020202020204" pitchFamily="34" charset="0"/>
              </a:rPr>
              <a:t>Overall Efficacy Results at Week 196 (Snapshot, ITT-E Population) 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BA4325BC-8454-01B9-D559-C269F373FA1B}"/>
              </a:ext>
            </a:extLst>
          </p:cNvPr>
          <p:cNvSpPr txBox="1"/>
          <p:nvPr/>
        </p:nvSpPr>
        <p:spPr bwMode="auto">
          <a:xfrm>
            <a:off x="71919" y="6253810"/>
            <a:ext cx="119077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="1" dirty="0" err="1">
                <a:solidFill>
                  <a:srgbClr val="071D49"/>
                </a:solidFill>
                <a:latin typeface="Calibri" panose="020F0502020204030204" pitchFamily="34" charset="0"/>
              </a:rPr>
              <a:t>Referencia</a:t>
            </a:r>
            <a:r>
              <a:rPr lang="en-US" sz="900" b="1" dirty="0">
                <a:solidFill>
                  <a:srgbClr val="071D49"/>
                </a:solidFill>
                <a:latin typeface="Calibri" panose="020F0502020204030204" pitchFamily="34" charset="0"/>
              </a:rPr>
              <a:t>: 1. 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Smith D.E.,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Routy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J.-P., Scholten S., et al. Switching to Dolutegravir/Lamivudine (DTG/3TC) is non-inferior to continuing tenofovir alafenamide (TAF)-based regimens at Week 196: TANGO subgroup analyses. Poster EPB0218.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Presentado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en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IAS 2023, the 12th IAS Conference on HIV Science. </a:t>
            </a:r>
            <a:r>
              <a:rPr lang="es-ES_tradnl" sz="900" dirty="0">
                <a:solidFill>
                  <a:srgbClr val="071D49"/>
                </a:solidFill>
                <a:latin typeface="Calibri" panose="020F0502020204030204" pitchFamily="34" charset="0"/>
              </a:rPr>
              <a:t>23–26 Julio 2023. Brisbane, Australia. Disponible en: https://www.natap.org/2023/IAS/IAS_27.htm Acceso realizado septiembre 2023</a:t>
            </a:r>
          </a:p>
        </p:txBody>
      </p:sp>
      <p:pic>
        <p:nvPicPr>
          <p:cNvPr id="28" name="Imagen 27">
            <a:extLst>
              <a:ext uri="{FF2B5EF4-FFF2-40B4-BE49-F238E27FC236}">
                <a16:creationId xmlns:a16="http://schemas.microsoft.com/office/drawing/2014/main" id="{B621A3DC-E50E-5690-1D6B-3657E25E91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877" y="996485"/>
            <a:ext cx="11510246" cy="486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66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cos"/>
                <a:cs typeface="Arial" panose="020B0604020202020204" pitchFamily="34" charset="0"/>
              </a:rPr>
              <a:t>Conclusions TANGO</a:t>
            </a: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BA4325BC-8454-01B9-D559-C269F373FA1B}"/>
              </a:ext>
            </a:extLst>
          </p:cNvPr>
          <p:cNvSpPr txBox="1"/>
          <p:nvPr/>
        </p:nvSpPr>
        <p:spPr bwMode="auto">
          <a:xfrm>
            <a:off x="71919" y="6253810"/>
            <a:ext cx="1190774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sz="900" b="1" dirty="0" err="1">
                <a:solidFill>
                  <a:srgbClr val="071D49"/>
                </a:solidFill>
                <a:latin typeface="Calibri" panose="020F0502020204030204" pitchFamily="34" charset="0"/>
              </a:rPr>
              <a:t>Referencia</a:t>
            </a:r>
            <a:r>
              <a:rPr lang="en-US" sz="900" b="1" dirty="0">
                <a:solidFill>
                  <a:srgbClr val="071D49"/>
                </a:solidFill>
                <a:latin typeface="Calibri" panose="020F0502020204030204" pitchFamily="34" charset="0"/>
              </a:rPr>
              <a:t>: 1. 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Smith D.E.,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Routy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J.-P., Scholten S., et al. Switching to Dolutegravir/Lamivudine (DTG/3TC) is non-inferior to continuing tenofovir alafenamide (TAF)-based regimens at Week 196: TANGO subgroup analyses. Poster EPB0218.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Presentado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071D49"/>
                </a:solidFill>
                <a:latin typeface="Calibri" panose="020F0502020204030204" pitchFamily="34" charset="0"/>
              </a:rPr>
              <a:t>en</a:t>
            </a:r>
            <a:r>
              <a:rPr lang="en-US" sz="900" dirty="0">
                <a:solidFill>
                  <a:srgbClr val="071D49"/>
                </a:solidFill>
                <a:latin typeface="Calibri" panose="020F0502020204030204" pitchFamily="34" charset="0"/>
              </a:rPr>
              <a:t> IAS 2023, the 12th IAS Conference on HIV Science. </a:t>
            </a:r>
            <a:r>
              <a:rPr lang="es-ES_tradnl" sz="900" dirty="0">
                <a:solidFill>
                  <a:srgbClr val="071D49"/>
                </a:solidFill>
                <a:latin typeface="Calibri" panose="020F0502020204030204" pitchFamily="34" charset="0"/>
              </a:rPr>
              <a:t>23–26 Julio 2023. Brisbane, Australia. Disponible en: https://www.natap.org/2023/IAS/IAS_27.htm Acceso realizado septiembre 2023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28538EDD-E984-64AB-FCB5-C012472B15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263" y="1096178"/>
            <a:ext cx="11437087" cy="4871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788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dirty="0">
                <a:solidFill>
                  <a:schemeClr val="bg1"/>
                </a:solidFill>
              </a:rPr>
              <a:t>Real-world data shows similar efficacy of DTG/3TC versus BIC/FTC/TAF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0361479A-69B8-C14E-2302-E222161D5F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094" y="682217"/>
            <a:ext cx="11839458" cy="6175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13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GB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cos"/>
                <a:cs typeface="Arial" panose="020B0604020202020204" pitchFamily="34" charset="0"/>
              </a:rPr>
              <a:t>AGENDA 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0B157D47-B1A1-6BCD-9E61-C9CECABBEA4C}"/>
              </a:ext>
            </a:extLst>
          </p:cNvPr>
          <p:cNvSpPr/>
          <p:nvPr/>
        </p:nvSpPr>
        <p:spPr>
          <a:xfrm>
            <a:off x="97766" y="1689196"/>
            <a:ext cx="1209423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lines Update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G/3TG in T</a:t>
            </a:r>
            <a:r>
              <a:rPr lang="en-US" altLang="en-US" sz="2400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tment</a:t>
            </a:r>
            <a:r>
              <a:rPr lang="en-US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Naïve “Special” People With HIV-1</a:t>
            </a: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WD reports of DTG/3TG Effectiveness in </a:t>
            </a:r>
            <a:r>
              <a:rPr lang="en-US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atment-Naive People With HIV-1 and Low TCD4+ or High Viral Load</a:t>
            </a: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data on switch treatment strategies</a:t>
            </a: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endParaRPr lang="en-GB" altLang="en-US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44513" lvl="1" indent="-254000">
              <a:spcBef>
                <a:spcPct val="0"/>
              </a:spcBef>
              <a:spcAft>
                <a:spcPts val="0"/>
              </a:spcAft>
              <a:buClr>
                <a:srgbClr val="E31836"/>
              </a:buClr>
              <a:buFont typeface="Arial" panose="020B0604020202020204" pitchFamily="34" charset="0"/>
              <a:buChar char="•"/>
            </a:pPr>
            <a:r>
              <a:rPr lang="en-GB" altLang="en-US" sz="2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ions </a:t>
            </a:r>
          </a:p>
        </p:txBody>
      </p:sp>
    </p:spTree>
    <p:extLst>
      <p:ext uri="{BB962C8B-B14F-4D97-AF65-F5344CB8AC3E}">
        <p14:creationId xmlns:p14="http://schemas.microsoft.com/office/powerpoint/2010/main" val="163836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10D958BF-E574-6D02-6633-24FC3AA192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94" y="67377"/>
            <a:ext cx="11207138" cy="63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D6C06DB3-87BF-4D32-0C6F-95D4D06DF850}"/>
              </a:ext>
            </a:extLst>
          </p:cNvPr>
          <p:cNvSpPr txBox="1"/>
          <p:nvPr/>
        </p:nvSpPr>
        <p:spPr>
          <a:xfrm flipH="1">
            <a:off x="7274291" y="2983832"/>
            <a:ext cx="3881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3600" b="1" dirty="0">
                <a:solidFill>
                  <a:srgbClr val="002060"/>
                </a:solidFill>
              </a:rPr>
              <a:t>Muchas gracias….</a:t>
            </a:r>
            <a:r>
              <a:rPr lang="es-ES" b="1" dirty="0">
                <a:solidFill>
                  <a:srgbClr val="00206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17642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CuadroTexto"/>
          <p:cNvSpPr txBox="1"/>
          <p:nvPr/>
        </p:nvSpPr>
        <p:spPr>
          <a:xfrm>
            <a:off x="187569" y="6417847"/>
            <a:ext cx="11801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ACS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uidelin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12.0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ctober</a:t>
            </a:r>
            <a:r>
              <a:rPr kumimoji="0" lang="es-ES_tradnl" sz="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2023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vailabl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at: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2"/>
              </a:rPr>
              <a:t>https://www.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  <a:hlinkClick r:id="rId3"/>
              </a:rPr>
              <a:t>https://www.eacsociety.org/media/guidelines-12.0.pdf</a:t>
            </a:r>
            <a:r>
              <a:rPr lang="es-ES_tradnl" sz="800" dirty="0">
                <a:solidFill>
                  <a:prstClr val="black"/>
                </a:solidFill>
                <a:cs typeface="Arial" panose="020B0604020202020204" pitchFamily="34" charset="0"/>
              </a:rPr>
              <a:t>. 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AS-USA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uidelines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  <a:r>
              <a:rPr kumimoji="0" lang="es-ES_tradnl" sz="8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Gandhi R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JAMA </a:t>
            </a:r>
            <a:r>
              <a:rPr lang="es-ES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; 329(1):63-84. doi:10.1001/jama.2022.22246</a:t>
            </a: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HHS. 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vailable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at </a:t>
            </a:r>
            <a:r>
              <a:rPr lang="es-ES_tradnl" sz="800" u="sng" dirty="0">
                <a:solidFill>
                  <a:prstClr val="black"/>
                </a:solidFill>
                <a:cs typeface="Arial" panose="020B0604020202020204" pitchFamily="34" charset="0"/>
                <a:hlinkClick r:id="rId4"/>
              </a:rPr>
              <a:t>https://clinicalinfo.hiv.gov/en/guidelines/hiv-clinical-guidelines-adult-and-adolescent-arv/whats-new</a:t>
            </a:r>
            <a:r>
              <a:rPr lang="es-ES_tradnl" sz="800" u="sng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d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lang="es-ES_tradnl" sz="800" dirty="0" err="1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ptember</a:t>
            </a:r>
            <a:r>
              <a:rPr lang="es-ES_tradnl" sz="8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 21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, 2022. </a:t>
            </a:r>
            <a:r>
              <a:rPr kumimoji="0" lang="es-ES_tradnl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eSIDA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/PNS TAR en adultos infectados por el VIH (Actualización enero 2023). Disponible en: 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  <a:hlinkClick r:id="rId5"/>
              </a:rPr>
              <a:t>https://gesida-seimc.org</a:t>
            </a:r>
            <a:r>
              <a:rPr kumimoji="0" lang="es-ES_tradnl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7" name="Tabla 7">
            <a:extLst>
              <a:ext uri="{FF2B5EF4-FFF2-40B4-BE49-F238E27FC236}">
                <a16:creationId xmlns:a16="http://schemas.microsoft.com/office/drawing/2014/main" id="{5F22C11C-5278-AA4E-AF0B-C114B1C175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32238678"/>
              </p:ext>
            </p:extLst>
          </p:nvPr>
        </p:nvGraphicFramePr>
        <p:xfrm>
          <a:off x="203198" y="1504661"/>
          <a:ext cx="11824621" cy="4801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6479">
                  <a:extLst>
                    <a:ext uri="{9D8B030D-6E8A-4147-A177-3AD203B41FA5}">
                      <a16:colId xmlns:a16="http://schemas.microsoft.com/office/drawing/2014/main" val="1365120815"/>
                    </a:ext>
                  </a:extLst>
                </a:gridCol>
                <a:gridCol w="2252539">
                  <a:extLst>
                    <a:ext uri="{9D8B030D-6E8A-4147-A177-3AD203B41FA5}">
                      <a16:colId xmlns:a16="http://schemas.microsoft.com/office/drawing/2014/main" val="474767831"/>
                    </a:ext>
                  </a:extLst>
                </a:gridCol>
                <a:gridCol w="2417804">
                  <a:extLst>
                    <a:ext uri="{9D8B030D-6E8A-4147-A177-3AD203B41FA5}">
                      <a16:colId xmlns:a16="http://schemas.microsoft.com/office/drawing/2014/main" val="1734253374"/>
                    </a:ext>
                  </a:extLst>
                </a:gridCol>
                <a:gridCol w="3070232">
                  <a:extLst>
                    <a:ext uri="{9D8B030D-6E8A-4147-A177-3AD203B41FA5}">
                      <a16:colId xmlns:a16="http://schemas.microsoft.com/office/drawing/2014/main" val="1762142606"/>
                    </a:ext>
                  </a:extLst>
                </a:gridCol>
                <a:gridCol w="2507567">
                  <a:extLst>
                    <a:ext uri="{9D8B030D-6E8A-4147-A177-3AD203B41FA5}">
                      <a16:colId xmlns:a16="http://schemas.microsoft.com/office/drawing/2014/main" val="4218676828"/>
                    </a:ext>
                  </a:extLst>
                </a:gridCol>
              </a:tblGrid>
              <a:tr h="885315">
                <a:tc>
                  <a:txBody>
                    <a:bodyPr/>
                    <a:lstStyle/>
                    <a:p>
                      <a:endParaRPr lang="es-E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HHS </a:t>
                      </a:r>
                      <a:r>
                        <a:rPr lang="es-E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ch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3, 2023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st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ople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ACS 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ct 2023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AS-USA </a:t>
                      </a:r>
                      <a:r>
                        <a:rPr lang="es-ES" sz="1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2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SIDA </a:t>
                      </a:r>
                      <a:r>
                        <a:rPr lang="es-ES" sz="1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  <a:p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“</a:t>
                      </a:r>
                      <a:r>
                        <a:rPr lang="es-ES" sz="11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ferred</a:t>
                      </a:r>
                      <a:r>
                        <a:rPr lang="es-E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”</a:t>
                      </a:r>
                    </a:p>
                  </a:txBody>
                  <a:tcP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07767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TG/3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V-VL &lt; 500,000 copies/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limited data are available in patients with viral loads above &gt; 500,000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s-ES" sz="1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pi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TDR, HBV data)</a:t>
                      </a:r>
                    </a:p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CAB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/FTC)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V-VL &lt; 500,000 copies/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25" marR="47625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V-VL &lt; 500,000 copies/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hap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D4 &lt; 200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l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clear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pi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ar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TDR)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O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os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nitoring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herence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s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afety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antage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DR.</a:t>
                      </a:r>
                    </a:p>
                    <a:p>
                      <a:r>
                        <a:rPr lang="en-US" sz="100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n-US" sz="1000" baseline="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commended during </a:t>
                      </a:r>
                      <a:r>
                        <a:rPr lang="en-US" sz="1000" baseline="0" noProof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c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</a:t>
                      </a:r>
                    </a:p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4 &gt; 200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ls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791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TG/ABC/3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cerns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BC and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sk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MI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gativ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LA-B*57:01 negative </a:t>
                      </a:r>
                    </a:p>
                    <a:p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BsAg negative 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413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/FTC </a:t>
                      </a:r>
                      <a:r>
                        <a:rPr lang="es-ES" sz="13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/XTC + DT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DF renal and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n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xicity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pi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file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625" marR="47625" marT="0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DF renal and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n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xicit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ociat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ea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9862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IC/FTC/TA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ommended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ter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B </a:t>
                      </a:r>
                      <a:r>
                        <a:rPr lang="es-ES" sz="1000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P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ilure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INSTI </a:t>
                      </a:r>
                      <a:r>
                        <a:rPr lang="es-ES" sz="1000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notiping</a:t>
                      </a:r>
                      <a:r>
                        <a:rPr lang="es-ES" sz="1000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(BIC, TAF)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sociated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eat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ight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in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00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</a:t>
                      </a:r>
                      <a:r>
                        <a:rPr lang="en-US" sz="1000" baseline="0" noProof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commended during </a:t>
                      </a:r>
                      <a:r>
                        <a:rPr lang="en-US" sz="1000" baseline="0" noProof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cy</a:t>
                      </a:r>
                      <a:endParaRPr lang="en-US" sz="1000" noProof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4870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/FTC </a:t>
                      </a:r>
                      <a:r>
                        <a:rPr lang="es-ES" sz="13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/XTC +</a:t>
                      </a:r>
                      <a:r>
                        <a:rPr lang="es-ES" sz="13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AL</a:t>
                      </a:r>
                      <a:endParaRPr lang="es-ES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No STR,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w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istance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rri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ill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THER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ly</a:t>
                      </a:r>
                      <a:r>
                        <a:rPr lang="es-ES" sz="1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 </a:t>
                      </a:r>
                      <a:r>
                        <a:rPr lang="es-ES" sz="1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gnancy</a:t>
                      </a:r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44800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F/FTC </a:t>
                      </a:r>
                      <a:r>
                        <a:rPr lang="es-ES" sz="13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3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/XTC +</a:t>
                      </a:r>
                      <a:r>
                        <a:rPr lang="es-ES" sz="13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OR </a:t>
                      </a:r>
                      <a:r>
                        <a:rPr lang="es-ES" sz="1300" b="1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</a:t>
                      </a:r>
                      <a:r>
                        <a:rPr lang="es-ES" sz="13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TDF/3Tc/DOR</a:t>
                      </a:r>
                      <a:endParaRPr lang="es-ES" sz="13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E7968727-073B-BA48-8641-8CF4E789457C}"/>
              </a:ext>
            </a:extLst>
          </p:cNvPr>
          <p:cNvSpPr txBox="1"/>
          <p:nvPr/>
        </p:nvSpPr>
        <p:spPr>
          <a:xfrm>
            <a:off x="456542" y="697592"/>
            <a:ext cx="4088107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TG/3TC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referred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in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ll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uidelines</a:t>
            </a: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BC </a:t>
            </a: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tarting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to be removed (IAS-USA, BHIVA)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AL removed (IAS-USA, DHHS, </a:t>
            </a:r>
            <a:r>
              <a:rPr kumimoji="0" lang="es-E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eSIDA</a:t>
            </a:r>
            <a:r>
              <a: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18" name="Rectangle 1">
            <a:extLst>
              <a:ext uri="{FF2B5EF4-FFF2-40B4-BE49-F238E27FC236}">
                <a16:creationId xmlns:a16="http://schemas.microsoft.com/office/drawing/2014/main" id="{0ADD8F4F-166D-7342-872A-8D7A1E5D5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47653" y="1072965"/>
            <a:ext cx="146050" cy="146050"/>
          </a:xfrm>
          <a:prstGeom prst="rect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2B85B8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alt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20" name="TextBox 2">
            <a:extLst>
              <a:ext uri="{FF2B5EF4-FFF2-40B4-BE49-F238E27FC236}">
                <a16:creationId xmlns:a16="http://schemas.microsoft.com/office/drawing/2014/main" id="{5FB049C0-A72A-3B46-AAC2-07B5A7300D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42215" y="1015185"/>
            <a:ext cx="24120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Preferred/recommended</a:t>
            </a: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BCC42413-37BA-9C49-A7CF-9772905C17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10012" y="1008548"/>
            <a:ext cx="317873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 panose="020B0604020202020204" pitchFamily="34" charset="0"/>
              </a:rPr>
              <a:t>Recommended</a:t>
            </a:r>
            <a:r>
              <a:rPr kumimoji="0" lang="en-US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in certain clinical situations</a:t>
            </a:r>
            <a:endParaRPr kumimoji="0" lang="en-US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22" name="Rectangle 7">
            <a:extLst>
              <a:ext uri="{FF2B5EF4-FFF2-40B4-BE49-F238E27FC236}">
                <a16:creationId xmlns:a16="http://schemas.microsoft.com/office/drawing/2014/main" id="{86BF1E9A-774E-E446-BFFF-F7358271C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3715" y="1066924"/>
            <a:ext cx="146050" cy="146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accent2"/>
              </a:buClr>
              <a:buFont typeface="Arial" panose="020B0604020202020204" pitchFamily="34" charset="0"/>
              <a:buChar char="–"/>
              <a:defRPr sz="16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rgbClr val="2B85B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en-US" sz="18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368F38F1-B708-375E-1A53-979B6C11025D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Guidelines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recommendations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for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Initial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ART in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adults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.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It’s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not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only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yes </a:t>
            </a:r>
            <a:r>
              <a:rPr lang="es-ES_tradnl" sz="2900" b="1" dirty="0" err="1">
                <a:solidFill>
                  <a:schemeClr val="bg1"/>
                </a:solidFill>
                <a:latin typeface="+mn-lt"/>
              </a:rPr>
              <a:t>or</a:t>
            </a:r>
            <a:r>
              <a:rPr lang="es-ES_tradnl" sz="2900" b="1" dirty="0">
                <a:solidFill>
                  <a:schemeClr val="bg1"/>
                </a:solidFill>
                <a:latin typeface="+mn-lt"/>
              </a:rPr>
              <a:t> no</a:t>
            </a:r>
            <a:r>
              <a:rPr lang="es-ES_tradnl" sz="3000" b="1" dirty="0">
                <a:solidFill>
                  <a:schemeClr val="bg1"/>
                </a:solidFill>
                <a:latin typeface="+mn-lt"/>
              </a:rPr>
              <a:t>.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cos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1905517-9150-043D-A692-FDA02A83A8FB}"/>
              </a:ext>
            </a:extLst>
          </p:cNvPr>
          <p:cNvSpPr txBox="1"/>
          <p:nvPr/>
        </p:nvSpPr>
        <p:spPr>
          <a:xfrm>
            <a:off x="10068026" y="770021"/>
            <a:ext cx="19207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/>
              <a:t>Cortesía Dr. </a:t>
            </a:r>
            <a:r>
              <a:rPr lang="es-ES" b="1" dirty="0" err="1"/>
              <a:t>Llibre</a:t>
            </a:r>
            <a:r>
              <a:rPr lang="es-ES" b="1" dirty="0"/>
              <a:t> </a:t>
            </a:r>
          </a:p>
        </p:txBody>
      </p:sp>
      <p:cxnSp>
        <p:nvCxnSpPr>
          <p:cNvPr id="4" name="Connector recte 3"/>
          <p:cNvCxnSpPr/>
          <p:nvPr/>
        </p:nvCxnSpPr>
        <p:spPr>
          <a:xfrm>
            <a:off x="6487064" y="2803585"/>
            <a:ext cx="1802921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 recte 16"/>
          <p:cNvCxnSpPr/>
          <p:nvPr/>
        </p:nvCxnSpPr>
        <p:spPr>
          <a:xfrm>
            <a:off x="6501448" y="3128505"/>
            <a:ext cx="1802921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3182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>
            <a:extLst>
              <a:ext uri="{FF2B5EF4-FFF2-40B4-BE49-F238E27FC236}">
                <a16:creationId xmlns:a16="http://schemas.microsoft.com/office/drawing/2014/main" id="{74573A7D-9B46-4F1C-B1DD-05A16A1169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4" name="Object 43" hidden="1">
                        <a:extLst>
                          <a:ext uri="{FF2B5EF4-FFF2-40B4-BE49-F238E27FC236}">
                            <a16:creationId xmlns:a16="http://schemas.microsoft.com/office/drawing/2014/main" id="{74573A7D-9B46-4F1C-B1DD-05A16A116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7192DC02-7BDB-4BB0-A4A2-C1FE419137C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1" name="Slide Number Placeholder 50">
            <a:extLst>
              <a:ext uri="{FF2B5EF4-FFF2-40B4-BE49-F238E27FC236}">
                <a16:creationId xmlns:a16="http://schemas.microsoft.com/office/drawing/2014/main" id="{46968D4D-40DA-4652-A35E-25ADFC8CA8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987851" y="6510704"/>
            <a:ext cx="204149" cy="24622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52DCD9-8769-4ED5-B8CC-B00FC588BA8C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7D529B17-FE72-4140-B025-A5104484A7E4}"/>
              </a:ext>
            </a:extLst>
          </p:cNvPr>
          <p:cNvSpPr/>
          <p:nvPr/>
        </p:nvSpPr>
        <p:spPr>
          <a:xfrm>
            <a:off x="10539661" y="1597796"/>
            <a:ext cx="558265" cy="529389"/>
          </a:xfrm>
          <a:prstGeom prst="ellipse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C9728A-70E6-3D9F-7376-3E8204ABF329}"/>
              </a:ext>
            </a:extLst>
          </p:cNvPr>
          <p:cNvSpPr/>
          <p:nvPr/>
        </p:nvSpPr>
        <p:spPr>
          <a:xfrm>
            <a:off x="2057401" y="2044948"/>
            <a:ext cx="7767017" cy="49843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3">
            <a:extLst>
              <a:ext uri="{FF2B5EF4-FFF2-40B4-BE49-F238E27FC236}">
                <a16:creationId xmlns:a16="http://schemas.microsoft.com/office/drawing/2014/main" id="{A27BAB61-CF07-9919-9B79-6F3B9C0F83E8}"/>
              </a:ext>
            </a:extLst>
          </p:cNvPr>
          <p:cNvSpPr/>
          <p:nvPr/>
        </p:nvSpPr>
        <p:spPr>
          <a:xfrm>
            <a:off x="2057402" y="3179783"/>
            <a:ext cx="7767017" cy="49843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26AFAA9-0F77-F1DF-040D-22AD3ACFDAA7}"/>
              </a:ext>
            </a:extLst>
          </p:cNvPr>
          <p:cNvSpPr/>
          <p:nvPr/>
        </p:nvSpPr>
        <p:spPr>
          <a:xfrm>
            <a:off x="2057402" y="4343400"/>
            <a:ext cx="7767017" cy="49843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8" name="Chart 10">
            <a:extLst>
              <a:ext uri="{FF2B5EF4-FFF2-40B4-BE49-F238E27FC236}">
                <a16:creationId xmlns:a16="http://schemas.microsoft.com/office/drawing/2014/main" id="{1645F601-4013-7950-39C4-6BDDC39F4C62}"/>
              </a:ext>
            </a:extLst>
          </p:cNvPr>
          <p:cNvGraphicFramePr>
            <a:graphicFrameLocks/>
          </p:cNvGraphicFramePr>
          <p:nvPr/>
        </p:nvGraphicFramePr>
        <p:xfrm>
          <a:off x="558264" y="1465307"/>
          <a:ext cx="5410200" cy="4373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Chart 9">
            <a:extLst>
              <a:ext uri="{FF2B5EF4-FFF2-40B4-BE49-F238E27FC236}">
                <a16:creationId xmlns:a16="http://schemas.microsoft.com/office/drawing/2014/main" id="{78111522-0D4C-D870-21FF-59369706DDF2}"/>
              </a:ext>
            </a:extLst>
          </p:cNvPr>
          <p:cNvGraphicFramePr/>
          <p:nvPr/>
        </p:nvGraphicFramePr>
        <p:xfrm>
          <a:off x="6729009" y="1973353"/>
          <a:ext cx="3733800" cy="3269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0" name="TextBox 10">
            <a:extLst>
              <a:ext uri="{FF2B5EF4-FFF2-40B4-BE49-F238E27FC236}">
                <a16:creationId xmlns:a16="http://schemas.microsoft.com/office/drawing/2014/main" id="{6B1BD3EB-CE98-B1F5-D1DF-ABA7F502173F}"/>
              </a:ext>
            </a:extLst>
          </p:cNvPr>
          <p:cNvSpPr txBox="1"/>
          <p:nvPr/>
        </p:nvSpPr>
        <p:spPr>
          <a:xfrm>
            <a:off x="6537416" y="5306656"/>
            <a:ext cx="3749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ifference in proportion, % (95% CI)</a:t>
            </a: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2F2669BE-5805-ACBB-E47B-F6DA0D33DAC3}"/>
              </a:ext>
            </a:extLst>
          </p:cNvPr>
          <p:cNvSpPr/>
          <p:nvPr/>
        </p:nvSpPr>
        <p:spPr>
          <a:xfrm>
            <a:off x="748564" y="1466143"/>
            <a:ext cx="182880" cy="182880"/>
          </a:xfrm>
          <a:prstGeom prst="rect">
            <a:avLst/>
          </a:prstGeom>
          <a:solidFill>
            <a:srgbClr val="002D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16">
            <a:extLst>
              <a:ext uri="{FF2B5EF4-FFF2-40B4-BE49-F238E27FC236}">
                <a16:creationId xmlns:a16="http://schemas.microsoft.com/office/drawing/2014/main" id="{FA437A63-B9C1-A7D2-0FEA-3975EF56B2FF}"/>
              </a:ext>
            </a:extLst>
          </p:cNvPr>
          <p:cNvSpPr txBox="1"/>
          <p:nvPr/>
        </p:nvSpPr>
        <p:spPr>
          <a:xfrm>
            <a:off x="1058747" y="1466143"/>
            <a:ext cx="2057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TG + 3TC (N=716)</a:t>
            </a: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E20F61F0-10F7-C83E-BB63-EE3067202395}"/>
              </a:ext>
            </a:extLst>
          </p:cNvPr>
          <p:cNvSpPr/>
          <p:nvPr/>
        </p:nvSpPr>
        <p:spPr>
          <a:xfrm>
            <a:off x="2870531" y="1465307"/>
            <a:ext cx="182880" cy="182880"/>
          </a:xfrm>
          <a:prstGeom prst="rect">
            <a:avLst/>
          </a:prstGeom>
          <a:solidFill>
            <a:srgbClr val="F84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18">
            <a:extLst>
              <a:ext uri="{FF2B5EF4-FFF2-40B4-BE49-F238E27FC236}">
                <a16:creationId xmlns:a16="http://schemas.microsoft.com/office/drawing/2014/main" id="{109CFC51-5405-5B01-E1E2-FE9D57FFF96A}"/>
              </a:ext>
            </a:extLst>
          </p:cNvPr>
          <p:cNvSpPr txBox="1"/>
          <p:nvPr/>
        </p:nvSpPr>
        <p:spPr>
          <a:xfrm>
            <a:off x="3180714" y="1465307"/>
            <a:ext cx="2057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TG + TDF/FTC (N=717)</a:t>
            </a:r>
          </a:p>
        </p:txBody>
      </p:sp>
      <p:grpSp>
        <p:nvGrpSpPr>
          <p:cNvPr id="25" name="Group 7">
            <a:extLst>
              <a:ext uri="{FF2B5EF4-FFF2-40B4-BE49-F238E27FC236}">
                <a16:creationId xmlns:a16="http://schemas.microsoft.com/office/drawing/2014/main" id="{4DF6B05B-9C10-E39C-8391-FE139368FE82}"/>
              </a:ext>
            </a:extLst>
          </p:cNvPr>
          <p:cNvGrpSpPr/>
          <p:nvPr/>
        </p:nvGrpSpPr>
        <p:grpSpPr>
          <a:xfrm>
            <a:off x="2268116" y="2248496"/>
            <a:ext cx="990600" cy="2468905"/>
            <a:chOff x="2014652" y="2108179"/>
            <a:chExt cx="990600" cy="2468905"/>
          </a:xfrm>
        </p:grpSpPr>
        <p:sp>
          <p:nvSpPr>
            <p:cNvPr id="26" name="TextBox 1">
              <a:extLst>
                <a:ext uri="{FF2B5EF4-FFF2-40B4-BE49-F238E27FC236}">
                  <a16:creationId xmlns:a16="http://schemas.microsoft.com/office/drawing/2014/main" id="{297E5510-7644-2582-6546-969EBFFFB31E}"/>
                </a:ext>
              </a:extLst>
            </p:cNvPr>
            <p:cNvSpPr txBox="1"/>
            <p:nvPr/>
          </p:nvSpPr>
          <p:spPr>
            <a:xfrm>
              <a:off x="2014652" y="2693304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38/153	</a:t>
              </a:r>
            </a:p>
          </p:txBody>
        </p:sp>
        <p:sp>
          <p:nvSpPr>
            <p:cNvPr id="27" name="TextBox 1">
              <a:extLst>
                <a:ext uri="{FF2B5EF4-FFF2-40B4-BE49-F238E27FC236}">
                  <a16:creationId xmlns:a16="http://schemas.microsoft.com/office/drawing/2014/main" id="{80555D55-1450-4F40-AD87-2D49D1AD7268}"/>
                </a:ext>
              </a:extLst>
            </p:cNvPr>
            <p:cNvSpPr txBox="1"/>
            <p:nvPr/>
          </p:nvSpPr>
          <p:spPr>
            <a:xfrm>
              <a:off x="2014652" y="3270983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1/46</a:t>
              </a:r>
            </a:p>
          </p:txBody>
        </p:sp>
        <p:sp>
          <p:nvSpPr>
            <p:cNvPr id="28" name="TextBox 1">
              <a:extLst>
                <a:ext uri="{FF2B5EF4-FFF2-40B4-BE49-F238E27FC236}">
                  <a16:creationId xmlns:a16="http://schemas.microsoft.com/office/drawing/2014/main" id="{5EE08F81-6118-5FCA-8085-5E1A0B88AA38}"/>
                </a:ext>
              </a:extLst>
            </p:cNvPr>
            <p:cNvSpPr txBox="1"/>
            <p:nvPr/>
          </p:nvSpPr>
          <p:spPr>
            <a:xfrm>
              <a:off x="2014652" y="3848886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/24</a:t>
              </a:r>
            </a:p>
          </p:txBody>
        </p:sp>
        <p:sp>
          <p:nvSpPr>
            <p:cNvPr id="29" name="TextBox 1">
              <a:extLst>
                <a:ext uri="{FF2B5EF4-FFF2-40B4-BE49-F238E27FC236}">
                  <a16:creationId xmlns:a16="http://schemas.microsoft.com/office/drawing/2014/main" id="{F4B446F4-650F-536F-08B1-41D95B1E307D}"/>
                </a:ext>
              </a:extLst>
            </p:cNvPr>
            <p:cNvSpPr txBox="1"/>
            <p:nvPr/>
          </p:nvSpPr>
          <p:spPr>
            <a:xfrm>
              <a:off x="2014652" y="4423196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2/15</a:t>
              </a:r>
            </a:p>
          </p:txBody>
        </p:sp>
        <p:sp>
          <p:nvSpPr>
            <p:cNvPr id="30" name="TextBox 1">
              <a:extLst>
                <a:ext uri="{FF2B5EF4-FFF2-40B4-BE49-F238E27FC236}">
                  <a16:creationId xmlns:a16="http://schemas.microsoft.com/office/drawing/2014/main" id="{2CCD7F7F-F427-0ADA-8EE1-ABDB4D3CA86A}"/>
                </a:ext>
              </a:extLst>
            </p:cNvPr>
            <p:cNvSpPr txBox="1"/>
            <p:nvPr/>
          </p:nvSpPr>
          <p:spPr>
            <a:xfrm>
              <a:off x="2014652" y="2108179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31/564</a:t>
              </a:r>
            </a:p>
          </p:txBody>
        </p:sp>
      </p:grpSp>
      <p:sp>
        <p:nvSpPr>
          <p:cNvPr id="31" name="Arrow: Left 29">
            <a:extLst>
              <a:ext uri="{FF2B5EF4-FFF2-40B4-BE49-F238E27FC236}">
                <a16:creationId xmlns:a16="http://schemas.microsoft.com/office/drawing/2014/main" id="{D21A518C-265D-42FA-08AE-516C8873119F}"/>
              </a:ext>
            </a:extLst>
          </p:cNvPr>
          <p:cNvSpPr/>
          <p:nvPr/>
        </p:nvSpPr>
        <p:spPr>
          <a:xfrm>
            <a:off x="6785464" y="1371600"/>
            <a:ext cx="1428650" cy="457200"/>
          </a:xfrm>
          <a:prstGeom prst="leftArrow">
            <a:avLst/>
          </a:prstGeom>
          <a:solidFill>
            <a:srgbClr val="F84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TG + TDF/FTC</a:t>
            </a:r>
          </a:p>
        </p:txBody>
      </p:sp>
      <p:sp>
        <p:nvSpPr>
          <p:cNvPr id="32" name="Arrow: Right 30">
            <a:extLst>
              <a:ext uri="{FF2B5EF4-FFF2-40B4-BE49-F238E27FC236}">
                <a16:creationId xmlns:a16="http://schemas.microsoft.com/office/drawing/2014/main" id="{E6D6EFD7-DFBD-CF2F-854A-30B24A7DE26C}"/>
              </a:ext>
            </a:extLst>
          </p:cNvPr>
          <p:cNvSpPr/>
          <p:nvPr/>
        </p:nvSpPr>
        <p:spPr>
          <a:xfrm>
            <a:off x="8221231" y="1371814"/>
            <a:ext cx="1606850" cy="457200"/>
          </a:xfrm>
          <a:prstGeom prst="rightArrow">
            <a:avLst/>
          </a:prstGeom>
          <a:solidFill>
            <a:srgbClr val="002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TG + 3TC</a:t>
            </a:r>
          </a:p>
        </p:txBody>
      </p:sp>
      <p:grpSp>
        <p:nvGrpSpPr>
          <p:cNvPr id="33" name="Group 31">
            <a:extLst>
              <a:ext uri="{FF2B5EF4-FFF2-40B4-BE49-F238E27FC236}">
                <a16:creationId xmlns:a16="http://schemas.microsoft.com/office/drawing/2014/main" id="{57DA52BA-84A9-B335-FE11-8ECDB66ECC36}"/>
              </a:ext>
            </a:extLst>
          </p:cNvPr>
          <p:cNvGrpSpPr/>
          <p:nvPr/>
        </p:nvGrpSpPr>
        <p:grpSpPr>
          <a:xfrm>
            <a:off x="2268116" y="2129742"/>
            <a:ext cx="990600" cy="2460196"/>
            <a:chOff x="2014652" y="2247172"/>
            <a:chExt cx="990600" cy="2460196"/>
          </a:xfrm>
        </p:grpSpPr>
        <p:sp>
          <p:nvSpPr>
            <p:cNvPr id="34" name="TextBox 1">
              <a:extLst>
                <a:ext uri="{FF2B5EF4-FFF2-40B4-BE49-F238E27FC236}">
                  <a16:creationId xmlns:a16="http://schemas.microsoft.com/office/drawing/2014/main" id="{FFCF6A04-5435-43C5-6213-2241ED8F548F}"/>
                </a:ext>
              </a:extLst>
            </p:cNvPr>
            <p:cNvSpPr txBox="1"/>
            <p:nvPr/>
          </p:nvSpPr>
          <p:spPr>
            <a:xfrm>
              <a:off x="2014652" y="2823588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29/140</a:t>
              </a:r>
            </a:p>
          </p:txBody>
        </p:sp>
        <p:sp>
          <p:nvSpPr>
            <p:cNvPr id="35" name="TextBox 1">
              <a:extLst>
                <a:ext uri="{FF2B5EF4-FFF2-40B4-BE49-F238E27FC236}">
                  <a16:creationId xmlns:a16="http://schemas.microsoft.com/office/drawing/2014/main" id="{20506AED-669A-BD5B-0FAA-4E7E9DC03D73}"/>
                </a:ext>
              </a:extLst>
            </p:cNvPr>
            <p:cNvSpPr txBox="1"/>
            <p:nvPr/>
          </p:nvSpPr>
          <p:spPr>
            <a:xfrm>
              <a:off x="2014652" y="3401267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5/51</a:t>
              </a:r>
            </a:p>
          </p:txBody>
        </p:sp>
        <p:sp>
          <p:nvSpPr>
            <p:cNvPr id="36" name="TextBox 1">
              <a:extLst>
                <a:ext uri="{FF2B5EF4-FFF2-40B4-BE49-F238E27FC236}">
                  <a16:creationId xmlns:a16="http://schemas.microsoft.com/office/drawing/2014/main" id="{001B6778-284B-A999-19C5-4E74468C8EC5}"/>
                </a:ext>
              </a:extLst>
            </p:cNvPr>
            <p:cNvSpPr txBox="1"/>
            <p:nvPr/>
          </p:nvSpPr>
          <p:spPr>
            <a:xfrm>
              <a:off x="2014652" y="3979170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6/18</a:t>
              </a:r>
            </a:p>
          </p:txBody>
        </p:sp>
        <p:sp>
          <p:nvSpPr>
            <p:cNvPr id="37" name="TextBox 1">
              <a:extLst>
                <a:ext uri="{FF2B5EF4-FFF2-40B4-BE49-F238E27FC236}">
                  <a16:creationId xmlns:a16="http://schemas.microsoft.com/office/drawing/2014/main" id="{1C3D8821-BC23-739B-DB54-4FEB0B062283}"/>
                </a:ext>
              </a:extLst>
            </p:cNvPr>
            <p:cNvSpPr txBox="1"/>
            <p:nvPr/>
          </p:nvSpPr>
          <p:spPr>
            <a:xfrm>
              <a:off x="2014652" y="4553480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1/13</a:t>
              </a:r>
            </a:p>
          </p:txBody>
        </p:sp>
        <p:sp>
          <p:nvSpPr>
            <p:cNvPr id="38" name="TextBox 1">
              <a:extLst>
                <a:ext uri="{FF2B5EF4-FFF2-40B4-BE49-F238E27FC236}">
                  <a16:creationId xmlns:a16="http://schemas.microsoft.com/office/drawing/2014/main" id="{20D1C518-CFDB-6544-7922-620D5E6BB852}"/>
                </a:ext>
              </a:extLst>
            </p:cNvPr>
            <p:cNvSpPr txBox="1"/>
            <p:nvPr/>
          </p:nvSpPr>
          <p:spPr>
            <a:xfrm>
              <a:off x="2014652" y="2247172"/>
              <a:ext cx="990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26/576</a:t>
              </a:r>
            </a:p>
          </p:txBody>
        </p:sp>
      </p:grpSp>
      <p:sp>
        <p:nvSpPr>
          <p:cNvPr id="40" name="TextBox 37">
            <a:extLst>
              <a:ext uri="{FF2B5EF4-FFF2-40B4-BE49-F238E27FC236}">
                <a16:creationId xmlns:a16="http://schemas.microsoft.com/office/drawing/2014/main" id="{9EFBB474-B10E-0356-2EBB-822382DEFAAE}"/>
              </a:ext>
            </a:extLst>
          </p:cNvPr>
          <p:cNvSpPr txBox="1"/>
          <p:nvPr/>
        </p:nvSpPr>
        <p:spPr>
          <a:xfrm>
            <a:off x="7322962" y="5021548"/>
            <a:ext cx="32283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–20</a:t>
            </a:r>
          </a:p>
        </p:txBody>
      </p:sp>
      <p:sp>
        <p:nvSpPr>
          <p:cNvPr id="41" name="TextBox 38">
            <a:extLst>
              <a:ext uri="{FF2B5EF4-FFF2-40B4-BE49-F238E27FC236}">
                <a16:creationId xmlns:a16="http://schemas.microsoft.com/office/drawing/2014/main" id="{7632B281-7E40-9C0C-5D8B-918733552107}"/>
              </a:ext>
            </a:extLst>
          </p:cNvPr>
          <p:cNvSpPr txBox="1"/>
          <p:nvPr/>
        </p:nvSpPr>
        <p:spPr>
          <a:xfrm>
            <a:off x="7681737" y="5021548"/>
            <a:ext cx="32283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–10</a:t>
            </a:r>
          </a:p>
        </p:txBody>
      </p:sp>
      <p:sp>
        <p:nvSpPr>
          <p:cNvPr id="42" name="TextBox 39">
            <a:extLst>
              <a:ext uri="{FF2B5EF4-FFF2-40B4-BE49-F238E27FC236}">
                <a16:creationId xmlns:a16="http://schemas.microsoft.com/office/drawing/2014/main" id="{3A22C3BF-A5C6-667F-74DA-1A5856AEBEC1}"/>
              </a:ext>
            </a:extLst>
          </p:cNvPr>
          <p:cNvSpPr txBox="1"/>
          <p:nvPr/>
        </p:nvSpPr>
        <p:spPr>
          <a:xfrm>
            <a:off x="7869062" y="2304227"/>
            <a:ext cx="322838" cy="184666"/>
          </a:xfrm>
          <a:prstGeom prst="rect">
            <a:avLst/>
          </a:prstGeom>
          <a:solidFill>
            <a:srgbClr val="E6E6E6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–2.8</a:t>
            </a:r>
          </a:p>
        </p:txBody>
      </p:sp>
      <p:sp>
        <p:nvSpPr>
          <p:cNvPr id="45" name="TextBox 40">
            <a:extLst>
              <a:ext uri="{FF2B5EF4-FFF2-40B4-BE49-F238E27FC236}">
                <a16:creationId xmlns:a16="http://schemas.microsoft.com/office/drawing/2014/main" id="{DE1A0761-21E9-4F1A-D675-4CBC6A71A391}"/>
              </a:ext>
            </a:extLst>
          </p:cNvPr>
          <p:cNvSpPr txBox="1"/>
          <p:nvPr/>
        </p:nvSpPr>
        <p:spPr>
          <a:xfrm>
            <a:off x="7871731" y="3276600"/>
            <a:ext cx="322838" cy="184666"/>
          </a:xfrm>
          <a:prstGeom prst="rect">
            <a:avLst/>
          </a:prstGeom>
          <a:solidFill>
            <a:srgbClr val="E6E6E6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–0.9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B12840D4-7FF6-7589-A26E-18EC3AA290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377" y="6406716"/>
            <a:ext cx="12021954" cy="311718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es-ES_tradnl" sz="1200" dirty="0" err="1">
                <a:solidFill>
                  <a:schemeClr val="tx1"/>
                </a:solidFill>
              </a:rPr>
              <a:t>Eron</a:t>
            </a:r>
            <a:r>
              <a:rPr lang="es-ES_tradnl" sz="1200" dirty="0">
                <a:solidFill>
                  <a:schemeClr val="tx1"/>
                </a:solidFill>
              </a:rPr>
              <a:t> J, </a:t>
            </a:r>
            <a:r>
              <a:rPr lang="es-ES_tradnl" sz="1200" dirty="0" err="1">
                <a:solidFill>
                  <a:schemeClr val="tx1"/>
                </a:solidFill>
              </a:rPr>
              <a:t>Hung</a:t>
            </a:r>
            <a:r>
              <a:rPr lang="es-ES_tradnl" sz="1200" dirty="0">
                <a:solidFill>
                  <a:schemeClr val="tx1"/>
                </a:solidFill>
              </a:rPr>
              <a:t> C-C, </a:t>
            </a:r>
            <a:r>
              <a:rPr lang="es-ES_tradnl" sz="1200" dirty="0" err="1">
                <a:solidFill>
                  <a:schemeClr val="tx1"/>
                </a:solidFill>
              </a:rPr>
              <a:t>Baril</a:t>
            </a:r>
            <a:r>
              <a:rPr lang="es-ES_tradnl" sz="1200" dirty="0">
                <a:solidFill>
                  <a:schemeClr val="tx1"/>
                </a:solidFill>
              </a:rPr>
              <a:t> J-G, et al. </a:t>
            </a:r>
            <a:r>
              <a:rPr lang="es-ES_tradnl" sz="1200" dirty="0" err="1">
                <a:solidFill>
                  <a:schemeClr val="tx1"/>
                </a:solidFill>
              </a:rPr>
              <a:t>Virologic</a:t>
            </a:r>
            <a:r>
              <a:rPr lang="es-ES_tradnl" sz="1200" dirty="0">
                <a:solidFill>
                  <a:schemeClr val="tx1"/>
                </a:solidFill>
              </a:rPr>
              <a:t> Response </a:t>
            </a:r>
            <a:r>
              <a:rPr lang="es-ES_tradnl" sz="1200" dirty="0" err="1">
                <a:solidFill>
                  <a:schemeClr val="tx1"/>
                </a:solidFill>
              </a:rPr>
              <a:t>by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Baseline</a:t>
            </a:r>
            <a:r>
              <a:rPr lang="es-ES_tradnl" sz="1200" dirty="0">
                <a:solidFill>
                  <a:schemeClr val="tx1"/>
                </a:solidFill>
              </a:rPr>
              <a:t> Viral Load </a:t>
            </a:r>
            <a:r>
              <a:rPr lang="es-ES_tradnl" sz="1200" dirty="0" err="1">
                <a:solidFill>
                  <a:schemeClr val="tx1"/>
                </a:solidFill>
              </a:rPr>
              <a:t>With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Dolutegravir</a:t>
            </a:r>
            <a:r>
              <a:rPr lang="es-ES_tradnl" sz="1200" dirty="0">
                <a:solidFill>
                  <a:schemeClr val="tx1"/>
                </a:solidFill>
              </a:rPr>
              <a:t> Plus </a:t>
            </a:r>
            <a:r>
              <a:rPr lang="es-ES_tradnl" sz="1200" dirty="0" err="1">
                <a:solidFill>
                  <a:schemeClr val="tx1"/>
                </a:solidFill>
              </a:rPr>
              <a:t>Lamivudine</a:t>
            </a:r>
            <a:r>
              <a:rPr lang="es-ES_tradnl" sz="1200" dirty="0">
                <a:solidFill>
                  <a:schemeClr val="tx1"/>
                </a:solidFill>
              </a:rPr>
              <a:t> vs </a:t>
            </a:r>
            <a:r>
              <a:rPr lang="es-ES_tradnl" sz="1200" dirty="0" err="1">
                <a:solidFill>
                  <a:schemeClr val="tx1"/>
                </a:solidFill>
              </a:rPr>
              <a:t>Dolutegravir</a:t>
            </a:r>
            <a:r>
              <a:rPr lang="es-ES_tradnl" sz="1200" dirty="0">
                <a:solidFill>
                  <a:schemeClr val="tx1"/>
                </a:solidFill>
              </a:rPr>
              <a:t> Plus </a:t>
            </a:r>
            <a:r>
              <a:rPr lang="es-ES_tradnl" sz="1200" dirty="0" err="1">
                <a:solidFill>
                  <a:schemeClr val="tx1"/>
                </a:solidFill>
              </a:rPr>
              <a:t>Tenofovir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Disoproxil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Fumarate</a:t>
            </a:r>
            <a:r>
              <a:rPr lang="es-ES_tradnl" sz="1200" dirty="0">
                <a:solidFill>
                  <a:schemeClr val="tx1"/>
                </a:solidFill>
              </a:rPr>
              <a:t>/</a:t>
            </a:r>
            <a:r>
              <a:rPr lang="es-ES_tradnl" sz="1200" dirty="0" err="1">
                <a:solidFill>
                  <a:schemeClr val="tx1"/>
                </a:solidFill>
              </a:rPr>
              <a:t>Emtricitabine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Pooled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Analysis</a:t>
            </a:r>
            <a:r>
              <a:rPr lang="es-ES_tradnl" sz="1200" dirty="0">
                <a:solidFill>
                  <a:schemeClr val="tx1"/>
                </a:solidFill>
              </a:rPr>
              <a:t>. J </a:t>
            </a:r>
            <a:r>
              <a:rPr lang="es-ES_tradnl" sz="1200" dirty="0" err="1">
                <a:solidFill>
                  <a:schemeClr val="tx1"/>
                </a:solidFill>
              </a:rPr>
              <a:t>Acquir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Immune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Defic</a:t>
            </a:r>
            <a:r>
              <a:rPr lang="es-ES_tradnl" sz="1200" dirty="0">
                <a:solidFill>
                  <a:schemeClr val="tx1"/>
                </a:solidFill>
              </a:rPr>
              <a:t> </a:t>
            </a:r>
            <a:r>
              <a:rPr lang="es-ES_tradnl" sz="1200" dirty="0" err="1">
                <a:solidFill>
                  <a:schemeClr val="tx1"/>
                </a:solidFill>
              </a:rPr>
              <a:t>Syndr</a:t>
            </a:r>
            <a:r>
              <a:rPr lang="es-ES_tradnl" sz="1200" dirty="0">
                <a:solidFill>
                  <a:schemeClr val="tx1"/>
                </a:solidFill>
              </a:rPr>
              <a:t>. 2020 Jan. </a:t>
            </a:r>
            <a:endParaRPr lang="en-US" sz="1200" dirty="0"/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58387B60-584E-E78D-BF73-8BF8D465FD12}"/>
              </a:ext>
            </a:extLst>
          </p:cNvPr>
          <p:cNvSpPr txBox="1"/>
          <p:nvPr/>
        </p:nvSpPr>
        <p:spPr>
          <a:xfrm>
            <a:off x="0" y="787486"/>
            <a:ext cx="61168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MINI-1, GEMINI-2</a:t>
            </a:r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5634B5D9-931A-E64B-B2A3-A136A53B61A6}"/>
              </a:ext>
            </a:extLst>
          </p:cNvPr>
          <p:cNvSpPr txBox="1"/>
          <p:nvPr/>
        </p:nvSpPr>
        <p:spPr>
          <a:xfrm>
            <a:off x="0" y="-1"/>
            <a:ext cx="12192000" cy="430887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Calibri" panose="020F0502020204030204" pitchFamily="34" charset="0"/>
              </a:rPr>
              <a:t>DTG + 3TC achieves virologic suppression at 48 weeks regardless of baseline viral load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6D44F82E-74DD-BDC7-231F-8536F6D487FA}"/>
              </a:ext>
            </a:extLst>
          </p:cNvPr>
          <p:cNvSpPr/>
          <p:nvPr/>
        </p:nvSpPr>
        <p:spPr>
          <a:xfrm>
            <a:off x="776177" y="4242390"/>
            <a:ext cx="4518837" cy="606057"/>
          </a:xfrm>
          <a:prstGeom prst="rect">
            <a:avLst/>
          </a:prstGeom>
          <a:noFill/>
          <a:ln w="57150">
            <a:solidFill>
              <a:srgbClr val="002F5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741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107721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mini 1 and 2 : Pooled Outcomes at Week 48 Stratified by Baseline HIV-1 RNA and CD4+ Cell Count: Snapshot Analysis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0787976-10BB-62DF-15C3-B7A385B5A28B}"/>
              </a:ext>
            </a:extLst>
          </p:cNvPr>
          <p:cNvSpPr txBox="1"/>
          <p:nvPr/>
        </p:nvSpPr>
        <p:spPr>
          <a:xfrm>
            <a:off x="8750596" y="6453963"/>
            <a:ext cx="4919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hn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 et al. 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ancet, </a:t>
            </a:r>
            <a:r>
              <a:rPr kumimoji="0" lang="es-E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nuary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2, 2019 </a:t>
            </a:r>
          </a:p>
        </p:txBody>
      </p:sp>
      <p:graphicFrame>
        <p:nvGraphicFramePr>
          <p:cNvPr id="3" name="Chart 10">
            <a:extLst>
              <a:ext uri="{FF2B5EF4-FFF2-40B4-BE49-F238E27FC236}">
                <a16:creationId xmlns:a16="http://schemas.microsoft.com/office/drawing/2014/main" id="{AB7CDB7C-B16B-A630-7AAB-BFCABDD218CA}"/>
              </a:ext>
            </a:extLst>
          </p:cNvPr>
          <p:cNvGraphicFramePr>
            <a:graphicFrameLocks/>
          </p:cNvGraphicFramePr>
          <p:nvPr/>
        </p:nvGraphicFramePr>
        <p:xfrm>
          <a:off x="6275820" y="1586865"/>
          <a:ext cx="4179459" cy="262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65">
            <a:extLst>
              <a:ext uri="{FF2B5EF4-FFF2-40B4-BE49-F238E27FC236}">
                <a16:creationId xmlns:a16="http://schemas.microsoft.com/office/drawing/2014/main" id="{E7F761D7-66B3-195A-E764-43FF3B97DFA6}"/>
              </a:ext>
            </a:extLst>
          </p:cNvPr>
          <p:cNvSpPr txBox="1"/>
          <p:nvPr/>
        </p:nvSpPr>
        <p:spPr>
          <a:xfrm>
            <a:off x="7072842" y="1247848"/>
            <a:ext cx="31910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</a:rPr>
              <a:t>TRDF Analysis</a:t>
            </a:r>
          </a:p>
        </p:txBody>
      </p:sp>
      <p:graphicFrame>
        <p:nvGraphicFramePr>
          <p:cNvPr id="6" name="Table 66">
            <a:extLst>
              <a:ext uri="{FF2B5EF4-FFF2-40B4-BE49-F238E27FC236}">
                <a16:creationId xmlns:a16="http://schemas.microsoft.com/office/drawing/2014/main" id="{194CE3CD-A69B-2D5A-BCC9-B878F1A8F3E7}"/>
              </a:ext>
            </a:extLst>
          </p:cNvPr>
          <p:cNvGraphicFramePr>
            <a:graphicFrameLocks noGrp="1"/>
          </p:cNvGraphicFramePr>
          <p:nvPr/>
        </p:nvGraphicFramePr>
        <p:xfrm>
          <a:off x="7202776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6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sp>
        <p:nvSpPr>
          <p:cNvPr id="7" name="TextBox 74">
            <a:extLst>
              <a:ext uri="{FF2B5EF4-FFF2-40B4-BE49-F238E27FC236}">
                <a16:creationId xmlns:a16="http://schemas.microsoft.com/office/drawing/2014/main" id="{7104FB98-ACC2-EA86-10DF-3AB0C93D52F3}"/>
              </a:ext>
            </a:extLst>
          </p:cNvPr>
          <p:cNvSpPr txBox="1"/>
          <p:nvPr/>
        </p:nvSpPr>
        <p:spPr>
          <a:xfrm>
            <a:off x="7792317" y="4156698"/>
            <a:ext cx="6187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&gt;100,000</a:t>
            </a:r>
          </a:p>
        </p:txBody>
      </p:sp>
      <p:sp>
        <p:nvSpPr>
          <p:cNvPr id="8" name="TextBox 75">
            <a:extLst>
              <a:ext uri="{FF2B5EF4-FFF2-40B4-BE49-F238E27FC236}">
                <a16:creationId xmlns:a16="http://schemas.microsoft.com/office/drawing/2014/main" id="{E1CEFA59-3F41-EE17-B306-E5A449BBA8A3}"/>
              </a:ext>
            </a:extLst>
          </p:cNvPr>
          <p:cNvSpPr txBox="1"/>
          <p:nvPr/>
        </p:nvSpPr>
        <p:spPr>
          <a:xfrm>
            <a:off x="7072843" y="4156698"/>
            <a:ext cx="6299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≤100,000</a:t>
            </a:r>
          </a:p>
        </p:txBody>
      </p:sp>
      <p:sp>
        <p:nvSpPr>
          <p:cNvPr id="9" name="TextBox 76">
            <a:extLst>
              <a:ext uri="{FF2B5EF4-FFF2-40B4-BE49-F238E27FC236}">
                <a16:creationId xmlns:a16="http://schemas.microsoft.com/office/drawing/2014/main" id="{1CA3802D-E307-FE5C-5595-AC9EB3817F0D}"/>
              </a:ext>
            </a:extLst>
          </p:cNvPr>
          <p:cNvSpPr txBox="1"/>
          <p:nvPr/>
        </p:nvSpPr>
        <p:spPr>
          <a:xfrm>
            <a:off x="9007430" y="4156698"/>
            <a:ext cx="33182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&gt;200</a:t>
            </a:r>
          </a:p>
        </p:txBody>
      </p:sp>
      <p:sp>
        <p:nvSpPr>
          <p:cNvPr id="10" name="TextBox 77">
            <a:extLst>
              <a:ext uri="{FF2B5EF4-FFF2-40B4-BE49-F238E27FC236}">
                <a16:creationId xmlns:a16="http://schemas.microsoft.com/office/drawing/2014/main" id="{54B742BD-6983-AA99-09F7-54277DFD6096}"/>
              </a:ext>
            </a:extLst>
          </p:cNvPr>
          <p:cNvSpPr txBox="1"/>
          <p:nvPr/>
        </p:nvSpPr>
        <p:spPr>
          <a:xfrm>
            <a:off x="9715731" y="4156698"/>
            <a:ext cx="34304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≤200</a:t>
            </a:r>
          </a:p>
        </p:txBody>
      </p:sp>
      <p:cxnSp>
        <p:nvCxnSpPr>
          <p:cNvPr id="11" name="Straight Connector 78">
            <a:extLst>
              <a:ext uri="{FF2B5EF4-FFF2-40B4-BE49-F238E27FC236}">
                <a16:creationId xmlns:a16="http://schemas.microsoft.com/office/drawing/2014/main" id="{B8C8C6C4-C177-8045-923E-3B2E44259784}"/>
              </a:ext>
            </a:extLst>
          </p:cNvPr>
          <p:cNvCxnSpPr>
            <a:cxnSpLocks/>
          </p:cNvCxnSpPr>
          <p:nvPr/>
        </p:nvCxnSpPr>
        <p:spPr>
          <a:xfrm>
            <a:off x="7055778" y="4410759"/>
            <a:ext cx="1365930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2" name="Straight Connector 79">
            <a:extLst>
              <a:ext uri="{FF2B5EF4-FFF2-40B4-BE49-F238E27FC236}">
                <a16:creationId xmlns:a16="http://schemas.microsoft.com/office/drawing/2014/main" id="{95B89161-F253-CC26-474A-28A15EDD8E34}"/>
              </a:ext>
            </a:extLst>
          </p:cNvPr>
          <p:cNvCxnSpPr>
            <a:cxnSpLocks/>
          </p:cNvCxnSpPr>
          <p:nvPr/>
        </p:nvCxnSpPr>
        <p:spPr>
          <a:xfrm>
            <a:off x="8932999" y="4414302"/>
            <a:ext cx="1235984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3" name="TextBox 80">
            <a:extLst>
              <a:ext uri="{FF2B5EF4-FFF2-40B4-BE49-F238E27FC236}">
                <a16:creationId xmlns:a16="http://schemas.microsoft.com/office/drawing/2014/main" id="{F1DFE7D0-B4DD-BB0B-2792-FA342D089383}"/>
              </a:ext>
            </a:extLst>
          </p:cNvPr>
          <p:cNvSpPr txBox="1"/>
          <p:nvPr/>
        </p:nvSpPr>
        <p:spPr>
          <a:xfrm>
            <a:off x="7242958" y="4426060"/>
            <a:ext cx="105791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Baseline HIV-1 </a:t>
            </a:r>
            <a:b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RNA, c/mL</a:t>
            </a:r>
          </a:p>
        </p:txBody>
      </p:sp>
      <p:sp>
        <p:nvSpPr>
          <p:cNvPr id="14" name="TextBox 81">
            <a:extLst>
              <a:ext uri="{FF2B5EF4-FFF2-40B4-BE49-F238E27FC236}">
                <a16:creationId xmlns:a16="http://schemas.microsoft.com/office/drawing/2014/main" id="{8DEAF591-3EE6-C21F-35CE-258B19270351}"/>
              </a:ext>
            </a:extLst>
          </p:cNvPr>
          <p:cNvSpPr txBox="1"/>
          <p:nvPr/>
        </p:nvSpPr>
        <p:spPr>
          <a:xfrm>
            <a:off x="8861806" y="4426060"/>
            <a:ext cx="137858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Baseline CD4+ </a:t>
            </a:r>
            <a:b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cell count, cell/mm</a:t>
            </a:r>
            <a:r>
              <a:rPr lang="en-US" sz="1400" b="1" baseline="30000" dirty="0">
                <a:solidFill>
                  <a:srgbClr val="000000"/>
                </a:solidFill>
                <a:latin typeface="Arial Narrow" panose="020B0606020202030204" pitchFamily="34" charset="0"/>
              </a:rPr>
              <a:t>3</a:t>
            </a:r>
            <a:endParaRPr lang="en-US" sz="14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6" name="Chart 10">
            <a:extLst>
              <a:ext uri="{FF2B5EF4-FFF2-40B4-BE49-F238E27FC236}">
                <a16:creationId xmlns:a16="http://schemas.microsoft.com/office/drawing/2014/main" id="{9A656BE6-5424-2618-2332-44D0F5C1154D}"/>
              </a:ext>
            </a:extLst>
          </p:cNvPr>
          <p:cNvGraphicFramePr>
            <a:graphicFrameLocks/>
          </p:cNvGraphicFramePr>
          <p:nvPr/>
        </p:nvGraphicFramePr>
        <p:xfrm>
          <a:off x="1968515" y="1594885"/>
          <a:ext cx="4179459" cy="2620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4">
            <a:extLst>
              <a:ext uri="{FF2B5EF4-FFF2-40B4-BE49-F238E27FC236}">
                <a16:creationId xmlns:a16="http://schemas.microsoft.com/office/drawing/2014/main" id="{29BCA614-90AA-4F1C-6D5A-1227F1988DCA}"/>
              </a:ext>
            </a:extLst>
          </p:cNvPr>
          <p:cNvSpPr txBox="1"/>
          <p:nvPr/>
        </p:nvSpPr>
        <p:spPr>
          <a:xfrm>
            <a:off x="2573524" y="1247848"/>
            <a:ext cx="319100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"/>
              </a:rPr>
              <a:t>Snapshot Analysis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09AFDB8-A33F-EAC8-5675-08D7B3954588}"/>
              </a:ext>
            </a:extLst>
          </p:cNvPr>
          <p:cNvSpPr txBox="1">
            <a:spLocks/>
          </p:cNvSpPr>
          <p:nvPr/>
        </p:nvSpPr>
        <p:spPr bwMode="auto">
          <a:xfrm>
            <a:off x="1788694" y="5301971"/>
            <a:ext cx="8475153" cy="838359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/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/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/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/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Font typeface="Arial" panose="020B0604020202020204" pitchFamily="34" charset="0"/>
              <a:buChar char="/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046"/>
              </a:buClr>
              <a:buSzTx/>
              <a:buFont typeface="Arial" panose="020B0604020202020204" pitchFamily="34" charset="0"/>
              <a:buChar char="/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2% of participants in each arm had baseline HIV-1 RNA &gt;500,000 c/mL</a:t>
            </a:r>
          </a:p>
          <a:p>
            <a:pPr marL="288925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046"/>
              </a:buClr>
              <a:buSzTx/>
              <a:buFont typeface="Arial" panose="020B0604020202020204" pitchFamily="34" charset="0"/>
              <a:buChar char="/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eatment related discontinuation = failure (TRDF) population accounts for confirmed virologic withdrawal (CVW), withdrawal</a:t>
            </a:r>
            <a:b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e to lack of efficacy, withdrawal due to treatment-related AE, and participants who met protocol-defined stopping criteria</a:t>
            </a:r>
          </a:p>
          <a:p>
            <a:pPr marL="288925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046"/>
              </a:buClr>
              <a:buSzTx/>
              <a:buFont typeface="Arial" panose="020B0604020202020204" pitchFamily="34" charset="0"/>
              <a:buChar char="/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TG + 3TC CD4 &lt;200 Snapshot non-response (n=13): </a:t>
            </a:r>
            <a:r>
              <a:rPr kumimoji="0" lang="en-US" sz="1000" b="1" i="0" u="sng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CVW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3 with VL &gt;50 in window </a:t>
            </a:r>
            <a:r>
              <a:rPr kumimoji="0" lang="en-US" sz="1000" b="1" i="0" u="sng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2 of 3 re-suppressed),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 discontinued due to AE (TB, Chagas disease), 2 protocol violations, 2 lost to follow-up, 1 withdrew consent, 1 withdrew to start HCV treatment, 1 change in ART (incarcerated)</a:t>
            </a:r>
          </a:p>
          <a:p>
            <a:pPr marL="288925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0046"/>
              </a:buClr>
              <a:buSzTx/>
              <a:buFont typeface="Arial" panose="020B0604020202020204" pitchFamily="34" charset="0"/>
              <a:buChar char="/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TG + TDF/FTC &lt; 200 Snapshot non-response (n=4):1 investigator discretion, 1 withdrew consent, 1 lost to follow-up, 1 VL &gt;50 (re-suppressed)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9" name="Table 47">
            <a:extLst>
              <a:ext uri="{FF2B5EF4-FFF2-40B4-BE49-F238E27FC236}">
                <a16:creationId xmlns:a16="http://schemas.microsoft.com/office/drawing/2014/main" id="{ED944F3D-326D-E7CA-1C23-7409DA3C7410}"/>
              </a:ext>
            </a:extLst>
          </p:cNvPr>
          <p:cNvGraphicFramePr>
            <a:graphicFrameLocks noGrp="1"/>
          </p:cNvGraphicFramePr>
          <p:nvPr/>
        </p:nvGraphicFramePr>
        <p:xfrm>
          <a:off x="2743200" y="5067921"/>
          <a:ext cx="3200400" cy="18288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2030584303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934579563"/>
                    </a:ext>
                  </a:extLst>
                </a:gridCol>
                <a:gridCol w="182880">
                  <a:extLst>
                    <a:ext uri="{9D8B030D-6E8A-4147-A177-3AD203B41FA5}">
                      <a16:colId xmlns:a16="http://schemas.microsoft.com/office/drawing/2014/main" val="1106494668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930115230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F5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 DTG + 3TC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200" b="1" dirty="0">
                          <a:solidFill>
                            <a:schemeClr val="tx1"/>
                          </a:solidFill>
                        </a:rPr>
                        <a:t>  DTG + TDF/FTC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9650868"/>
                  </a:ext>
                </a:extLst>
              </a:tr>
            </a:tbl>
          </a:graphicData>
        </a:graphic>
      </p:graphicFrame>
      <p:sp>
        <p:nvSpPr>
          <p:cNvPr id="20" name="TextBox 6">
            <a:extLst>
              <a:ext uri="{FF2B5EF4-FFF2-40B4-BE49-F238E27FC236}">
                <a16:creationId xmlns:a16="http://schemas.microsoft.com/office/drawing/2014/main" id="{21084CBD-F935-54B1-0A3F-22CED77F6185}"/>
              </a:ext>
            </a:extLst>
          </p:cNvPr>
          <p:cNvSpPr txBox="1"/>
          <p:nvPr/>
        </p:nvSpPr>
        <p:spPr>
          <a:xfrm>
            <a:off x="3485012" y="4164718"/>
            <a:ext cx="61875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&gt;100,000</a:t>
            </a:r>
          </a:p>
        </p:txBody>
      </p:sp>
      <p:sp>
        <p:nvSpPr>
          <p:cNvPr id="21" name="TextBox 50">
            <a:extLst>
              <a:ext uri="{FF2B5EF4-FFF2-40B4-BE49-F238E27FC236}">
                <a16:creationId xmlns:a16="http://schemas.microsoft.com/office/drawing/2014/main" id="{B82413A5-DBA2-FCCA-41AA-D41558E77479}"/>
              </a:ext>
            </a:extLst>
          </p:cNvPr>
          <p:cNvSpPr txBox="1"/>
          <p:nvPr/>
        </p:nvSpPr>
        <p:spPr>
          <a:xfrm>
            <a:off x="2765538" y="4164718"/>
            <a:ext cx="62998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≤100,000</a:t>
            </a:r>
          </a:p>
        </p:txBody>
      </p:sp>
      <p:sp>
        <p:nvSpPr>
          <p:cNvPr id="22" name="TextBox 52">
            <a:extLst>
              <a:ext uri="{FF2B5EF4-FFF2-40B4-BE49-F238E27FC236}">
                <a16:creationId xmlns:a16="http://schemas.microsoft.com/office/drawing/2014/main" id="{477477D5-246A-5574-CE04-356D5F43647C}"/>
              </a:ext>
            </a:extLst>
          </p:cNvPr>
          <p:cNvSpPr txBox="1"/>
          <p:nvPr/>
        </p:nvSpPr>
        <p:spPr>
          <a:xfrm>
            <a:off x="4700125" y="4164718"/>
            <a:ext cx="33182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&gt;200</a:t>
            </a:r>
          </a:p>
        </p:txBody>
      </p:sp>
      <p:sp>
        <p:nvSpPr>
          <p:cNvPr id="23" name="TextBox 54">
            <a:extLst>
              <a:ext uri="{FF2B5EF4-FFF2-40B4-BE49-F238E27FC236}">
                <a16:creationId xmlns:a16="http://schemas.microsoft.com/office/drawing/2014/main" id="{4A154B9C-9025-1DA3-2CE9-C5005872C343}"/>
              </a:ext>
            </a:extLst>
          </p:cNvPr>
          <p:cNvSpPr txBox="1"/>
          <p:nvPr/>
        </p:nvSpPr>
        <p:spPr>
          <a:xfrm>
            <a:off x="5408426" y="4164718"/>
            <a:ext cx="34304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≤200</a:t>
            </a:r>
          </a:p>
        </p:txBody>
      </p:sp>
      <p:cxnSp>
        <p:nvCxnSpPr>
          <p:cNvPr id="24" name="Straight Connector 8">
            <a:extLst>
              <a:ext uri="{FF2B5EF4-FFF2-40B4-BE49-F238E27FC236}">
                <a16:creationId xmlns:a16="http://schemas.microsoft.com/office/drawing/2014/main" id="{7E94B53D-DAAF-F0CD-8848-4C6ADCD039E8}"/>
              </a:ext>
            </a:extLst>
          </p:cNvPr>
          <p:cNvCxnSpPr>
            <a:cxnSpLocks/>
          </p:cNvCxnSpPr>
          <p:nvPr/>
        </p:nvCxnSpPr>
        <p:spPr>
          <a:xfrm>
            <a:off x="2748473" y="4418779"/>
            <a:ext cx="1365930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25" name="Straight Connector 61">
            <a:extLst>
              <a:ext uri="{FF2B5EF4-FFF2-40B4-BE49-F238E27FC236}">
                <a16:creationId xmlns:a16="http://schemas.microsoft.com/office/drawing/2014/main" id="{92A83F75-465A-82DE-3006-383BEDB9503C}"/>
              </a:ext>
            </a:extLst>
          </p:cNvPr>
          <p:cNvCxnSpPr>
            <a:cxnSpLocks/>
          </p:cNvCxnSpPr>
          <p:nvPr/>
        </p:nvCxnSpPr>
        <p:spPr>
          <a:xfrm>
            <a:off x="4625694" y="4422322"/>
            <a:ext cx="1235984" cy="0"/>
          </a:xfrm>
          <a:prstGeom prst="line">
            <a:avLst/>
          </a:prstGeom>
          <a:noFill/>
          <a:ln w="190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26" name="TextBox 62">
            <a:extLst>
              <a:ext uri="{FF2B5EF4-FFF2-40B4-BE49-F238E27FC236}">
                <a16:creationId xmlns:a16="http://schemas.microsoft.com/office/drawing/2014/main" id="{BDD7A33E-0677-B4FD-BA68-804D69C1FD26}"/>
              </a:ext>
            </a:extLst>
          </p:cNvPr>
          <p:cNvSpPr txBox="1"/>
          <p:nvPr/>
        </p:nvSpPr>
        <p:spPr>
          <a:xfrm>
            <a:off x="2935653" y="4434080"/>
            <a:ext cx="1057918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Baseline HIV-1 </a:t>
            </a:r>
            <a:b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RNA, c/mL</a:t>
            </a:r>
          </a:p>
        </p:txBody>
      </p:sp>
      <p:sp>
        <p:nvSpPr>
          <p:cNvPr id="27" name="TextBox 63">
            <a:extLst>
              <a:ext uri="{FF2B5EF4-FFF2-40B4-BE49-F238E27FC236}">
                <a16:creationId xmlns:a16="http://schemas.microsoft.com/office/drawing/2014/main" id="{F4E90BB5-8FC2-095C-7BAB-6DF537023AFA}"/>
              </a:ext>
            </a:extLst>
          </p:cNvPr>
          <p:cNvSpPr txBox="1"/>
          <p:nvPr/>
        </p:nvSpPr>
        <p:spPr>
          <a:xfrm>
            <a:off x="4554501" y="4434080"/>
            <a:ext cx="137858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Baseline CD4+ </a:t>
            </a:r>
            <a:b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</a:br>
            <a:r>
              <a:rPr lang="en-US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cell count, cell/mm</a:t>
            </a:r>
            <a:r>
              <a:rPr lang="en-US" sz="1400" b="1" baseline="30000" dirty="0">
                <a:solidFill>
                  <a:srgbClr val="000000"/>
                </a:solidFill>
                <a:latin typeface="Arial Narrow" panose="020B0606020202030204" pitchFamily="34" charset="0"/>
              </a:rPr>
              <a:t>3</a:t>
            </a:r>
            <a:endParaRPr lang="en-US" sz="14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28" name="Table 82">
            <a:extLst>
              <a:ext uri="{FF2B5EF4-FFF2-40B4-BE49-F238E27FC236}">
                <a16:creationId xmlns:a16="http://schemas.microsoft.com/office/drawing/2014/main" id="{62753F17-0F61-0369-4436-B07786404969}"/>
              </a:ext>
            </a:extLst>
          </p:cNvPr>
          <p:cNvGraphicFramePr>
            <a:graphicFrameLocks noGrp="1"/>
          </p:cNvGraphicFramePr>
          <p:nvPr/>
        </p:nvGraphicFramePr>
        <p:xfrm>
          <a:off x="7433551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29" name="Table 83">
            <a:extLst>
              <a:ext uri="{FF2B5EF4-FFF2-40B4-BE49-F238E27FC236}">
                <a16:creationId xmlns:a16="http://schemas.microsoft.com/office/drawing/2014/main" id="{E2A58B75-8D54-E283-D222-9E1AC8A59FC9}"/>
              </a:ext>
            </a:extLst>
          </p:cNvPr>
          <p:cNvGraphicFramePr>
            <a:graphicFrameLocks noGrp="1"/>
          </p:cNvGraphicFramePr>
          <p:nvPr/>
        </p:nvGraphicFramePr>
        <p:xfrm>
          <a:off x="7905051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0" name="Table 84">
            <a:extLst>
              <a:ext uri="{FF2B5EF4-FFF2-40B4-BE49-F238E27FC236}">
                <a16:creationId xmlns:a16="http://schemas.microsoft.com/office/drawing/2014/main" id="{654D0E6C-FB7A-D59A-1D6F-2F1E38F29E55}"/>
              </a:ext>
            </a:extLst>
          </p:cNvPr>
          <p:cNvGraphicFramePr>
            <a:graphicFrameLocks noGrp="1"/>
          </p:cNvGraphicFramePr>
          <p:nvPr/>
        </p:nvGraphicFramePr>
        <p:xfrm>
          <a:off x="8143177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1" name="Table 85">
            <a:extLst>
              <a:ext uri="{FF2B5EF4-FFF2-40B4-BE49-F238E27FC236}">
                <a16:creationId xmlns:a16="http://schemas.microsoft.com/office/drawing/2014/main" id="{F9CF7369-C945-BC98-8764-8D73FCEDBB09}"/>
              </a:ext>
            </a:extLst>
          </p:cNvPr>
          <p:cNvGraphicFramePr>
            <a:graphicFrameLocks noGrp="1"/>
          </p:cNvGraphicFramePr>
          <p:nvPr/>
        </p:nvGraphicFramePr>
        <p:xfrm>
          <a:off x="8969820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2" name="Table 86">
            <a:extLst>
              <a:ext uri="{FF2B5EF4-FFF2-40B4-BE49-F238E27FC236}">
                <a16:creationId xmlns:a16="http://schemas.microsoft.com/office/drawing/2014/main" id="{660E8837-0322-1500-0D57-C282C7228287}"/>
              </a:ext>
            </a:extLst>
          </p:cNvPr>
          <p:cNvGraphicFramePr>
            <a:graphicFrameLocks noGrp="1"/>
          </p:cNvGraphicFramePr>
          <p:nvPr/>
        </p:nvGraphicFramePr>
        <p:xfrm>
          <a:off x="9203184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3" name="Table 87">
            <a:extLst>
              <a:ext uri="{FF2B5EF4-FFF2-40B4-BE49-F238E27FC236}">
                <a16:creationId xmlns:a16="http://schemas.microsoft.com/office/drawing/2014/main" id="{E4903A7F-95D5-16A0-8F74-23A00E562E3B}"/>
              </a:ext>
            </a:extLst>
          </p:cNvPr>
          <p:cNvGraphicFramePr>
            <a:graphicFrameLocks noGrp="1"/>
          </p:cNvGraphicFramePr>
          <p:nvPr/>
        </p:nvGraphicFramePr>
        <p:xfrm>
          <a:off x="9674681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4" name="Table 88">
            <a:extLst>
              <a:ext uri="{FF2B5EF4-FFF2-40B4-BE49-F238E27FC236}">
                <a16:creationId xmlns:a16="http://schemas.microsoft.com/office/drawing/2014/main" id="{9104ABA4-984D-4D04-D95B-856CA55DF459}"/>
              </a:ext>
            </a:extLst>
          </p:cNvPr>
          <p:cNvGraphicFramePr>
            <a:graphicFrameLocks noGrp="1"/>
          </p:cNvGraphicFramePr>
          <p:nvPr/>
        </p:nvGraphicFramePr>
        <p:xfrm>
          <a:off x="9912809" y="3719788"/>
          <a:ext cx="182563" cy="274320"/>
        </p:xfrm>
        <a:graphic>
          <a:graphicData uri="http://schemas.openxmlformats.org/drawingml/2006/table">
            <a:tbl>
              <a:tblPr firstRow="1" bandRow="1"/>
              <a:tblGrid>
                <a:gridCol w="182563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5" name="Table 89">
            <a:extLst>
              <a:ext uri="{FF2B5EF4-FFF2-40B4-BE49-F238E27FC236}">
                <a16:creationId xmlns:a16="http://schemas.microsoft.com/office/drawing/2014/main" id="{DE6A124B-D3C9-733B-F7FC-D586B37E7776}"/>
              </a:ext>
            </a:extLst>
          </p:cNvPr>
          <p:cNvGraphicFramePr>
            <a:graphicFrameLocks noGrp="1"/>
          </p:cNvGraphicFramePr>
          <p:nvPr/>
        </p:nvGraphicFramePr>
        <p:xfrm>
          <a:off x="2902527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6" name="Table 90">
            <a:extLst>
              <a:ext uri="{FF2B5EF4-FFF2-40B4-BE49-F238E27FC236}">
                <a16:creationId xmlns:a16="http://schemas.microsoft.com/office/drawing/2014/main" id="{7148884D-F2BB-DADE-74BA-D87BF056FDFB}"/>
              </a:ext>
            </a:extLst>
          </p:cNvPr>
          <p:cNvGraphicFramePr>
            <a:graphicFrameLocks noGrp="1"/>
          </p:cNvGraphicFramePr>
          <p:nvPr/>
        </p:nvGraphicFramePr>
        <p:xfrm>
          <a:off x="3122246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7" name="Table 91">
            <a:extLst>
              <a:ext uri="{FF2B5EF4-FFF2-40B4-BE49-F238E27FC236}">
                <a16:creationId xmlns:a16="http://schemas.microsoft.com/office/drawing/2014/main" id="{818F39A2-D65A-B55C-078B-5CFDAC6FE758}"/>
              </a:ext>
            </a:extLst>
          </p:cNvPr>
          <p:cNvGraphicFramePr>
            <a:graphicFrameLocks noGrp="1"/>
          </p:cNvGraphicFramePr>
          <p:nvPr/>
        </p:nvGraphicFramePr>
        <p:xfrm>
          <a:off x="3594407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8" name="Table 92">
            <a:extLst>
              <a:ext uri="{FF2B5EF4-FFF2-40B4-BE49-F238E27FC236}">
                <a16:creationId xmlns:a16="http://schemas.microsoft.com/office/drawing/2014/main" id="{F97667B0-DB91-C63D-C9B0-42272498918E}"/>
              </a:ext>
            </a:extLst>
          </p:cNvPr>
          <p:cNvGraphicFramePr>
            <a:graphicFrameLocks noGrp="1"/>
          </p:cNvGraphicFramePr>
          <p:nvPr/>
        </p:nvGraphicFramePr>
        <p:xfrm>
          <a:off x="3830955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39" name="Table 93">
            <a:extLst>
              <a:ext uri="{FF2B5EF4-FFF2-40B4-BE49-F238E27FC236}">
                <a16:creationId xmlns:a16="http://schemas.microsoft.com/office/drawing/2014/main" id="{CC3A47A8-CDEB-1F0B-4861-557DC7D7F012}"/>
              </a:ext>
            </a:extLst>
          </p:cNvPr>
          <p:cNvGraphicFramePr>
            <a:graphicFrameLocks noGrp="1"/>
          </p:cNvGraphicFramePr>
          <p:nvPr/>
        </p:nvGraphicFramePr>
        <p:xfrm>
          <a:off x="4662142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40" name="Table 94">
            <a:extLst>
              <a:ext uri="{FF2B5EF4-FFF2-40B4-BE49-F238E27FC236}">
                <a16:creationId xmlns:a16="http://schemas.microsoft.com/office/drawing/2014/main" id="{16B97173-7DBD-9D89-98D1-3617969A8CA6}"/>
              </a:ext>
            </a:extLst>
          </p:cNvPr>
          <p:cNvGraphicFramePr>
            <a:graphicFrameLocks noGrp="1"/>
          </p:cNvGraphicFramePr>
          <p:nvPr/>
        </p:nvGraphicFramePr>
        <p:xfrm>
          <a:off x="4898691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41" name="Table 95">
            <a:extLst>
              <a:ext uri="{FF2B5EF4-FFF2-40B4-BE49-F238E27FC236}">
                <a16:creationId xmlns:a16="http://schemas.microsoft.com/office/drawing/2014/main" id="{D7FB5143-9D06-C60C-870E-3044CA25852B}"/>
              </a:ext>
            </a:extLst>
          </p:cNvPr>
          <p:cNvGraphicFramePr>
            <a:graphicFrameLocks noGrp="1"/>
          </p:cNvGraphicFramePr>
          <p:nvPr/>
        </p:nvGraphicFramePr>
        <p:xfrm>
          <a:off x="5362596" y="3719788"/>
          <a:ext cx="195495" cy="274320"/>
        </p:xfrm>
        <a:graphic>
          <a:graphicData uri="http://schemas.openxmlformats.org/drawingml/2006/table">
            <a:tbl>
              <a:tblPr firstRow="1" bandRow="1"/>
              <a:tblGrid>
                <a:gridCol w="195495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13716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13716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  <p:graphicFrame>
        <p:nvGraphicFramePr>
          <p:cNvPr id="42" name="Table 96">
            <a:extLst>
              <a:ext uri="{FF2B5EF4-FFF2-40B4-BE49-F238E27FC236}">
                <a16:creationId xmlns:a16="http://schemas.microsoft.com/office/drawing/2014/main" id="{7AAF2E68-AED5-CA6E-3F31-17926025612D}"/>
              </a:ext>
            </a:extLst>
          </p:cNvPr>
          <p:cNvGraphicFramePr>
            <a:graphicFrameLocks noGrp="1"/>
          </p:cNvGraphicFramePr>
          <p:nvPr/>
        </p:nvGraphicFramePr>
        <p:xfrm>
          <a:off x="5595884" y="3719788"/>
          <a:ext cx="182880" cy="274320"/>
        </p:xfrm>
        <a:graphic>
          <a:graphicData uri="http://schemas.openxmlformats.org/drawingml/2006/table">
            <a:tbl>
              <a:tblPr firstRow="1" bandRow="1"/>
              <a:tblGrid>
                <a:gridCol w="182880">
                  <a:extLst>
                    <a:ext uri="{9D8B030D-6E8A-4147-A177-3AD203B41FA5}">
                      <a16:colId xmlns:a16="http://schemas.microsoft.com/office/drawing/2014/main" val="1919451957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816656"/>
                  </a:ext>
                </a:extLst>
              </a:tr>
              <a:tr h="91440">
                <a:tc>
                  <a:txBody>
                    <a:bodyPr/>
                    <a:lstStyle>
                      <a:lvl1pPr marL="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18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377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566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754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5943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131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320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509" algn="l" defTabSz="914377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9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781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914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107721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mini 1 and 2 : Confirmed Virologic Withdrawals Through Week 48: ITT-E Population</a:t>
            </a: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00787976-10BB-62DF-15C3-B7A385B5A28B}"/>
              </a:ext>
            </a:extLst>
          </p:cNvPr>
          <p:cNvSpPr txBox="1"/>
          <p:nvPr/>
        </p:nvSpPr>
        <p:spPr>
          <a:xfrm>
            <a:off x="7272671" y="6422065"/>
            <a:ext cx="4919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hn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 et al. 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ancet,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anuary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2, 2019 </a:t>
            </a:r>
          </a:p>
        </p:txBody>
      </p:sp>
      <p:graphicFrame>
        <p:nvGraphicFramePr>
          <p:cNvPr id="3" name="Table 7">
            <a:extLst>
              <a:ext uri="{FF2B5EF4-FFF2-40B4-BE49-F238E27FC236}">
                <a16:creationId xmlns:a16="http://schemas.microsoft.com/office/drawing/2014/main" id="{2BB34C65-C245-08A8-773E-D86C7C2DE0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382124"/>
              </p:ext>
            </p:extLst>
          </p:nvPr>
        </p:nvGraphicFramePr>
        <p:xfrm>
          <a:off x="1668779" y="2122493"/>
          <a:ext cx="8229600" cy="232694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260822513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934394722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3646051956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4107068267"/>
                    </a:ext>
                  </a:extLst>
                </a:gridCol>
              </a:tblGrid>
              <a:tr h="51378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en-GB" sz="1600" b="1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97536" marR="12700" marT="54864" marB="54864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 Narrow"/>
                        </a:rPr>
                        <a:t>GEMINI 1</a:t>
                      </a:r>
                    </a:p>
                  </a:txBody>
                  <a:tcPr marL="12700" marR="12700" marT="54864" marB="548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 Narrow"/>
                        </a:rPr>
                        <a:t>GEMINI 2</a:t>
                      </a:r>
                    </a:p>
                  </a:txBody>
                  <a:tcPr marL="12700" marR="12700" marT="54864" marB="5486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 Narrow"/>
                        </a:rPr>
                        <a:t>Pooled</a:t>
                      </a:r>
                    </a:p>
                  </a:txBody>
                  <a:tcPr marL="12700" marR="12700" marT="54864" marB="54864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53141">
                <a:tc>
                  <a:txBody>
                    <a:bodyPr/>
                    <a:lstStyle/>
                    <a:p>
                      <a:pPr marL="73152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Variable, n (%)</a:t>
                      </a:r>
                    </a:p>
                  </a:txBody>
                  <a:tcPr marL="12700" marR="1270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3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356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TDF/F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358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3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360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TDF/F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359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3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716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TG + TDF/FTC</a:t>
                      </a:r>
                      <a:b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=717)</a:t>
                      </a:r>
                      <a:endParaRPr lang="en-GB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21992" marR="21992" marT="21992" marB="21992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567590"/>
                  </a:ext>
                </a:extLst>
              </a:tr>
              <a:tr h="411379">
                <a:tc>
                  <a:txBody>
                    <a:bodyPr/>
                    <a:lstStyle/>
                    <a:p>
                      <a:pPr marL="73152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CVW </a:t>
                      </a:r>
                      <a:endParaRPr lang="en-US" sz="1400" b="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12700" marR="127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4 (1)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2 (&lt;1)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2 (&lt;1)</a:t>
                      </a:r>
                    </a:p>
                  </a:txBody>
                  <a:tcPr marL="12700" marR="127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2 (&lt;1)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6 (&lt;1)</a:t>
                      </a:r>
                    </a:p>
                  </a:txBody>
                  <a:tcPr marL="12700" marR="127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4 (&lt;1)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73152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Treatment-emergent resistance</a:t>
                      </a:r>
                      <a:endParaRPr lang="en-US" sz="14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12700" marR="1270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12700" marR="127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8882828"/>
                  </a:ext>
                </a:extLst>
              </a:tr>
            </a:tbl>
          </a:graphicData>
        </a:graphic>
      </p:graphicFrame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8E4042DA-6C4E-B262-7E67-EE9B91AF1ED8}"/>
              </a:ext>
            </a:extLst>
          </p:cNvPr>
          <p:cNvSpPr txBox="1">
            <a:spLocks/>
          </p:cNvSpPr>
          <p:nvPr/>
        </p:nvSpPr>
        <p:spPr bwMode="auto">
          <a:xfrm>
            <a:off x="1682427" y="1549429"/>
            <a:ext cx="7730774" cy="374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0"/>
              </a:spcBef>
              <a:spcAft>
                <a:spcPts val="500"/>
              </a:spcAft>
              <a:buClr>
                <a:srgbClr val="E31836"/>
              </a:buClr>
              <a:buSzPct val="115000"/>
              <a:buFont typeface="Arial" charset="0"/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73075" indent="-2571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39763" indent="-158750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428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-"/>
              <a:def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2338" indent="-114300" algn="l" defTabSz="923925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668338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000">
                <a:solidFill>
                  <a:schemeClr val="bg2"/>
                </a:solidFill>
                <a:latin typeface="+mn-lt"/>
                <a:cs typeface="+mn-cs"/>
              </a:defRPr>
            </a:lvl6pPr>
            <a:lvl7pPr marL="14478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7pPr>
            <a:lvl8pPr marL="19050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8pPr>
            <a:lvl9pPr marL="23622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r>
              <a:rPr lang="en-US" sz="2000" kern="0" dirty="0"/>
              <a:t>Low rates of virologic withdrawals were observed at Week 48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A19C2C73-699C-688D-2363-D383793C4BE1}"/>
              </a:ext>
            </a:extLst>
          </p:cNvPr>
          <p:cNvSpPr txBox="1">
            <a:spLocks/>
          </p:cNvSpPr>
          <p:nvPr/>
        </p:nvSpPr>
        <p:spPr bwMode="auto">
          <a:xfrm>
            <a:off x="1684701" y="4827173"/>
            <a:ext cx="7728501" cy="374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0"/>
              </a:spcBef>
              <a:spcAft>
                <a:spcPts val="500"/>
              </a:spcAft>
              <a:buClr>
                <a:srgbClr val="E31836"/>
              </a:buClr>
              <a:buSzPct val="115000"/>
              <a:buFont typeface="Arial" charset="0"/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73075" indent="-2571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39763" indent="-158750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428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-"/>
              <a:def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2338" indent="-114300" algn="l" defTabSz="923925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668338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000">
                <a:solidFill>
                  <a:schemeClr val="bg2"/>
                </a:solidFill>
                <a:latin typeface="+mn-lt"/>
                <a:cs typeface="+mn-cs"/>
              </a:defRPr>
            </a:lvl6pPr>
            <a:lvl7pPr marL="14478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7pPr>
            <a:lvl8pPr marL="19050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8pPr>
            <a:lvl9pPr marL="23622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r>
              <a:rPr lang="en-US" sz="2000" kern="0" dirty="0"/>
              <a:t>No treatment-emergent INSTI mutations or NRTI mutations were observed among participants who met CVW (confirmed virologic failure) criteria</a:t>
            </a:r>
          </a:p>
        </p:txBody>
      </p:sp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FC93098A-6430-D05C-099F-9563EAEDAAA2}"/>
              </a:ext>
            </a:extLst>
          </p:cNvPr>
          <p:cNvSpPr txBox="1">
            <a:spLocks/>
          </p:cNvSpPr>
          <p:nvPr/>
        </p:nvSpPr>
        <p:spPr bwMode="auto">
          <a:xfrm>
            <a:off x="1759211" y="5907025"/>
            <a:ext cx="7851064" cy="333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r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73075" indent="-2571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39763" indent="-158750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798513" indent="-142875" algn="l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-"/>
              <a:def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22338" indent="-114300" algn="l" defTabSz="923925" rtl="0" eaLnBrk="0" fontAlgn="base" hangingPunct="0">
              <a:spcBef>
                <a:spcPct val="0"/>
              </a:spcBef>
              <a:spcAft>
                <a:spcPts val="300"/>
              </a:spcAft>
              <a:buClr>
                <a:srgbClr val="E31836"/>
              </a:buClr>
              <a:buSzPct val="115000"/>
              <a:buFont typeface="Arial" charset="0"/>
              <a:buChar char="•"/>
              <a:defRPr lang="en-GB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668338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000">
                <a:solidFill>
                  <a:schemeClr val="bg2"/>
                </a:solidFill>
                <a:latin typeface="+mn-lt"/>
                <a:cs typeface="+mn-cs"/>
              </a:defRPr>
            </a:lvl6pPr>
            <a:lvl7pPr marL="14478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7pPr>
            <a:lvl8pPr marL="19050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8pPr>
            <a:lvl9pPr marL="236220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000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algn="l"/>
            <a:r>
              <a:rPr lang="en-US" altLang="ja-JP" sz="700" dirty="0"/>
              <a:t>Confirmed virologic withdrawal criteria is defined as a second and consecutive HIV-1 RNA value meeting virologic non-response or rebound. Virologic non-response is defined as either a decrease in plasma HIV-1 RNA of less than 1 log</a:t>
            </a:r>
            <a:r>
              <a:rPr lang="en-US" altLang="ja-JP" sz="700" baseline="-25000" dirty="0"/>
              <a:t>10</a:t>
            </a:r>
            <a:r>
              <a:rPr lang="en-US" altLang="ja-JP" sz="700" dirty="0"/>
              <a:t> c/mL by Week 12 with subsequent confirmation unless plasma HIV-1 RNA is &lt;200 c/mL, or confirmed plasma HIV-1 RNA levels ≥200 c/mL on or after Week 24. Virologic rebound is defined as confirmed rebound in plasma HIV-1 RNA levels to ≥200 c/mL after prior confirmed suppression to &lt;200 c/mL. </a:t>
            </a:r>
          </a:p>
          <a:p>
            <a:pPr algn="l"/>
            <a:r>
              <a:rPr lang="en-US" altLang="ja-JP" sz="700" dirty="0"/>
              <a:t> </a:t>
            </a:r>
          </a:p>
          <a:p>
            <a:pPr algn="l"/>
            <a:r>
              <a:rPr lang="en-US" altLang="en-US" sz="700" kern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691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5399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cos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C16A9318-7C90-D22D-2EBC-B895FB9DF623}"/>
              </a:ext>
            </a:extLst>
          </p:cNvPr>
          <p:cNvSpPr txBox="1">
            <a:spLocks/>
          </p:cNvSpPr>
          <p:nvPr/>
        </p:nvSpPr>
        <p:spPr>
          <a:xfrm>
            <a:off x="6475228" y="6430943"/>
            <a:ext cx="7216670" cy="129346"/>
          </a:xfrm>
          <a:prstGeom prst="rect">
            <a:avLst/>
          </a:prstGeom>
        </p:spPr>
        <p:txBody>
          <a:bodyPr/>
          <a:lstStyle>
            <a:lvl1pPr marL="228594" indent="-228594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im et al. </a:t>
            </a:r>
            <a:r>
              <a:rPr kumimoji="0" lang="en-US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Week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23; Boston, MA. Poster 1593.</a:t>
            </a: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147BA67B-EADA-2B9A-106A-17EF1D89EF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002" y="228322"/>
            <a:ext cx="12125995" cy="640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53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1D02397-A04F-44B8-BEBB-61C729CAA832}"/>
              </a:ext>
            </a:extLst>
          </p:cNvPr>
          <p:cNvSpPr txBox="1"/>
          <p:nvPr/>
        </p:nvSpPr>
        <p:spPr>
          <a:xfrm>
            <a:off x="0" y="-1"/>
            <a:ext cx="12192000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TG/3TC in a Test-and-Treat Setting 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A1283A4-AD71-74E7-4F6A-D88432EFA1BA}"/>
              </a:ext>
            </a:extLst>
          </p:cNvPr>
          <p:cNvSpPr txBox="1">
            <a:spLocks/>
          </p:cNvSpPr>
          <p:nvPr/>
        </p:nvSpPr>
        <p:spPr bwMode="auto">
          <a:xfrm rot="10800000" flipV="1">
            <a:off x="7591651" y="6634725"/>
            <a:ext cx="4597660" cy="210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defRPr sz="20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6213" indent="-1762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sz="17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68325" indent="-173038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5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6313" indent="-188913" algn="l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US" sz="13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29753" indent="-152396" algn="l" defTabSz="1231869" rtl="0" eaLnBrk="0" fontAlgn="base" hangingPunct="0"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Char char="•"/>
              <a:defRPr lang="en-GB" sz="1467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891095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None/>
              <a:defRPr sz="1333">
                <a:solidFill>
                  <a:schemeClr val="bg2"/>
                </a:solidFill>
                <a:latin typeface="+mn-lt"/>
                <a:cs typeface="+mn-cs"/>
              </a:defRPr>
            </a:lvl6pPr>
            <a:lvl7pPr marL="1930352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7pPr>
            <a:lvl8pPr marL="2539937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8pPr>
            <a:lvl9pPr marL="3149521" indent="-25187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61229"/>
              </a:buClr>
              <a:buSzPct val="115000"/>
              <a:buFont typeface="Arial" charset="0"/>
              <a:buChar char="•"/>
              <a:defRPr sz="1333">
                <a:solidFill>
                  <a:schemeClr val="bg2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>
                <a:srgbClr val="E31836"/>
              </a:buClr>
              <a:buSzPct val="115000"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71D4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olle CP et al, Open Forum Infectious Diseases </a:t>
            </a: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1 March 2023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71D4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3086CBAE-AD39-4C24-C10E-E66CE46932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50800"/>
            <a:ext cx="12192000" cy="487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64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W9mBRhix0_CBSYCQTa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bkk6X0vE83vpZBpgLQ_A"/>
</p:tagLst>
</file>

<file path=ppt/theme/theme1.xml><?xml version="1.0" encoding="utf-8"?>
<a:theme xmlns:a="http://schemas.openxmlformats.org/drawingml/2006/main" name="9_ViiV Global Template 2015 With Logo">
  <a:themeElements>
    <a:clrScheme name="ViiV Color Theme">
      <a:dk1>
        <a:srgbClr val="000000"/>
      </a:dk1>
      <a:lt1>
        <a:srgbClr val="FFFFFF"/>
      </a:lt1>
      <a:dk2>
        <a:srgbClr val="A30234"/>
      </a:dk2>
      <a:lt2>
        <a:srgbClr val="808080"/>
      </a:lt2>
      <a:accent1>
        <a:srgbClr val="002F5F"/>
      </a:accent1>
      <a:accent2>
        <a:srgbClr val="FF6600"/>
      </a:accent2>
      <a:accent3>
        <a:srgbClr val="00B050"/>
      </a:accent3>
      <a:accent4>
        <a:srgbClr val="FFCC00"/>
      </a:accent4>
      <a:accent5>
        <a:srgbClr val="0098DB"/>
      </a:accent5>
      <a:accent6>
        <a:srgbClr val="A50021"/>
      </a:accent6>
      <a:hlink>
        <a:srgbClr val="0000FF"/>
      </a:hlink>
      <a:folHlink>
        <a:srgbClr val="7030A0"/>
      </a:folHlink>
    </a:clrScheme>
    <a:fontScheme name="ViiV Corporate Font 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ViiV original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Default Design">
  <a:themeElements>
    <a:clrScheme name="Custom 3">
      <a:dk1>
        <a:srgbClr val="000000"/>
      </a:dk1>
      <a:lt1>
        <a:srgbClr val="FFFFFF"/>
      </a:lt1>
      <a:dk2>
        <a:srgbClr val="CEC3B1"/>
      </a:dk2>
      <a:lt2>
        <a:srgbClr val="D5E8FA"/>
      </a:lt2>
      <a:accent1>
        <a:srgbClr val="7278B4"/>
      </a:accent1>
      <a:accent2>
        <a:srgbClr val="88AAD3"/>
      </a:accent2>
      <a:accent3>
        <a:srgbClr val="79A67F"/>
      </a:accent3>
      <a:accent4>
        <a:srgbClr val="306B7A"/>
      </a:accent4>
      <a:accent5>
        <a:srgbClr val="FFA004"/>
      </a:accent5>
      <a:accent6>
        <a:srgbClr val="DC460B"/>
      </a:accent6>
      <a:hlink>
        <a:srgbClr val="56C7AA"/>
      </a:hlink>
      <a:folHlink>
        <a:srgbClr val="59A8D1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tabLst/>
          <a:defRPr kumimoji="0" sz="1200" i="0" u="none" strike="noStrike" cap="none" normalizeH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25000"/>
          </a:spcAft>
          <a:buClrTx/>
          <a:buSzTx/>
          <a:buFontTx/>
          <a:buChar char="•"/>
          <a:tabLst/>
          <a:defRPr kumimoji="0" lang="en-US" sz="3600" b="1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solidFill>
          <a:srgbClr val="FFFF00"/>
        </a:solidFill>
      </a:spPr>
      <a:bodyPr wrap="square" rtlCol="0" anchor="b">
        <a:noAutofit/>
      </a:bodyPr>
      <a:lstStyle>
        <a:defPPr>
          <a:defRPr sz="1200" dirty="0"/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ViiV scientific template">
  <a:themeElements>
    <a:clrScheme name="Custom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30046"/>
      </a:accent1>
      <a:accent2>
        <a:srgbClr val="071D49"/>
      </a:accent2>
      <a:accent3>
        <a:srgbClr val="702082"/>
      </a:accent3>
      <a:accent4>
        <a:srgbClr val="5BC2E7"/>
      </a:accent4>
      <a:accent5>
        <a:srgbClr val="D0D3D3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VIIV_PowerPoint_Full_Template.pptx" id="{925DAD9F-5283-4881-A418-C4A4EE9A7D87}" vid="{616922AB-E06C-4C94-8A35-468858759FF5}"/>
    </a:ext>
  </a:extLst>
</a:theme>
</file>

<file path=ppt/theme/theme5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6.xml><?xml version="1.0" encoding="utf-8"?>
<a:theme xmlns:a="http://schemas.openxmlformats.org/drawingml/2006/main" name="ViiV Global Template 2020">
  <a:themeElements>
    <a:clrScheme name="ViiV DTG 2019 Color Theme - NEW">
      <a:dk1>
        <a:srgbClr val="071D49"/>
      </a:dk1>
      <a:lt1>
        <a:srgbClr val="FFFFFF"/>
      </a:lt1>
      <a:dk2>
        <a:srgbClr val="E40046"/>
      </a:dk2>
      <a:lt2>
        <a:srgbClr val="E7E6E6"/>
      </a:lt2>
      <a:accent1>
        <a:srgbClr val="002F5F"/>
      </a:accent1>
      <a:accent2>
        <a:srgbClr val="FF6600"/>
      </a:accent2>
      <a:accent3>
        <a:srgbClr val="00B050"/>
      </a:accent3>
      <a:accent4>
        <a:srgbClr val="FFCC00"/>
      </a:accent4>
      <a:accent5>
        <a:srgbClr val="D0D3D4"/>
      </a:accent5>
      <a:accent6>
        <a:srgbClr val="5BC2E7"/>
      </a:accent6>
      <a:hlink>
        <a:srgbClr val="702082"/>
      </a:hlink>
      <a:folHlink>
        <a:srgbClr val="541761"/>
      </a:folHlink>
    </a:clrScheme>
    <a:fontScheme name="ViiV 2019 NEW Corporate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algn="l">
          <a:defRPr kern="0" dirty="0" smtClea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DWeek 2020_Slide Template_DTG_Conf Support.pptx" id="{215A46C9-BFEF-4063-B06C-D3FFC7830660}" vid="{907ADC12-AF9D-4253-9353-B94613AFF5ED}"/>
    </a:ext>
  </a:extLst>
</a:theme>
</file>

<file path=ppt/theme/theme7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30046"/>
      </a:accent1>
      <a:accent2>
        <a:srgbClr val="071D49"/>
      </a:accent2>
      <a:accent3>
        <a:srgbClr val="702082"/>
      </a:accent3>
      <a:accent4>
        <a:srgbClr val="5BC2E7"/>
      </a:accent4>
      <a:accent5>
        <a:srgbClr val="D0D3D3"/>
      </a:accent5>
      <a:accent6>
        <a:srgbClr val="FFFFFF"/>
      </a:accent6>
      <a:hlink>
        <a:srgbClr val="0563C1"/>
      </a:hlink>
      <a:folHlink>
        <a:srgbClr val="954F72"/>
      </a:folHlink>
    </a:clrScheme>
    <a:fontScheme name="Custom 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VIIV_PowerPoint_Full_Template.pptx" id="{925DAD9F-5283-4881-A418-C4A4EE9A7D87}" vid="{616922AB-E06C-4C94-8A35-468858759FF5}"/>
    </a:ext>
  </a:extLst>
</a:theme>
</file>

<file path=ppt/theme/theme8.xml><?xml version="1.0" encoding="utf-8"?>
<a:theme xmlns:a="http://schemas.openxmlformats.org/drawingml/2006/main" name="EACS 2023_CORP_Conference Support">
  <a:themeElements>
    <a:clrScheme name="ViiV2022_CORP_blueType">
      <a:dk1>
        <a:srgbClr val="071D49"/>
      </a:dk1>
      <a:lt1>
        <a:srgbClr val="FFFFFF"/>
      </a:lt1>
      <a:dk2>
        <a:srgbClr val="E40046"/>
      </a:dk2>
      <a:lt2>
        <a:srgbClr val="E7E6E6"/>
      </a:lt2>
      <a:accent1>
        <a:srgbClr val="E40046"/>
      </a:accent1>
      <a:accent2>
        <a:srgbClr val="071D49"/>
      </a:accent2>
      <a:accent3>
        <a:srgbClr val="702082"/>
      </a:accent3>
      <a:accent4>
        <a:srgbClr val="5BC2E7"/>
      </a:accent4>
      <a:accent5>
        <a:srgbClr val="D0D3D4"/>
      </a:accent5>
      <a:accent6>
        <a:srgbClr val="00B050"/>
      </a:accent6>
      <a:hlink>
        <a:srgbClr val="702082"/>
      </a:hlink>
      <a:folHlink>
        <a:srgbClr val="541761"/>
      </a:folHlink>
    </a:clrScheme>
    <a:fontScheme name="ViiV 2019 NEW Corporate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algn="l">
          <a:defRPr kern="0" dirty="0" smtClean="0"/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ViiV original">
      <a:majorFont>
        <a:latin typeface="Raleway"/>
        <a:ea typeface=""/>
        <a:cs typeface=""/>
      </a:majorFont>
      <a:minorFont>
        <a:latin typeface="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44546A"/>
    </a:dk2>
    <a:lt2>
      <a:srgbClr val="E7E6E6"/>
    </a:lt2>
    <a:accent1>
      <a:srgbClr val="E30046"/>
    </a:accent1>
    <a:accent2>
      <a:srgbClr val="071D49"/>
    </a:accent2>
    <a:accent3>
      <a:srgbClr val="702082"/>
    </a:accent3>
    <a:accent4>
      <a:srgbClr val="5BC2E7"/>
    </a:accent4>
    <a:accent5>
      <a:srgbClr val="D0D3D3"/>
    </a:accent5>
    <a:accent6>
      <a:srgbClr val="FFFFFF"/>
    </a:accent6>
    <a:hlink>
      <a:srgbClr val="0563C1"/>
    </a:hlink>
    <a:folHlink>
      <a:srgbClr val="954F72"/>
    </a:folHlink>
  </a:clrScheme>
  <a:fontScheme name="Custom 8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44546A"/>
    </a:dk2>
    <a:lt2>
      <a:srgbClr val="E7E6E6"/>
    </a:lt2>
    <a:accent1>
      <a:srgbClr val="E30046"/>
    </a:accent1>
    <a:accent2>
      <a:srgbClr val="071D49"/>
    </a:accent2>
    <a:accent3>
      <a:srgbClr val="702082"/>
    </a:accent3>
    <a:accent4>
      <a:srgbClr val="5BC2E7"/>
    </a:accent4>
    <a:accent5>
      <a:srgbClr val="D0D3D3"/>
    </a:accent5>
    <a:accent6>
      <a:srgbClr val="FFFFFF"/>
    </a:accent6>
    <a:hlink>
      <a:srgbClr val="0563C1"/>
    </a:hlink>
    <a:folHlink>
      <a:srgbClr val="954F72"/>
    </a:folHlink>
  </a:clrScheme>
  <a:fontScheme name="Custom 8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248</TotalTime>
  <Words>3617</Words>
  <Application>Microsoft Office PowerPoint</Application>
  <PresentationFormat>Panorámica</PresentationFormat>
  <Paragraphs>375</Paragraphs>
  <Slides>30</Slides>
  <Notes>28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51" baseType="lpstr">
      <vt:lpstr>Calibri Light</vt:lpstr>
      <vt:lpstr>Verdana</vt:lpstr>
      <vt:lpstr>Arial Narrow</vt:lpstr>
      <vt:lpstr>Symbol</vt:lpstr>
      <vt:lpstr>Arial</vt:lpstr>
      <vt:lpstr>Breakthrough</vt:lpstr>
      <vt:lpstr>Calibri cos</vt:lpstr>
      <vt:lpstr>Calibri</vt:lpstr>
      <vt:lpstr>Raleway</vt:lpstr>
      <vt:lpstr>Wingdings</vt:lpstr>
      <vt:lpstr>Century Gothic</vt:lpstr>
      <vt:lpstr>Helvetica</vt:lpstr>
      <vt:lpstr>9_ViiV Global Template 2015 With Logo</vt:lpstr>
      <vt:lpstr>7_Default Design</vt:lpstr>
      <vt:lpstr>1_Office Theme</vt:lpstr>
      <vt:lpstr>ViiV scientific template</vt:lpstr>
      <vt:lpstr>2017_HTAA_Diabetes</vt:lpstr>
      <vt:lpstr>ViiV Global Template 2020</vt:lpstr>
      <vt:lpstr>4_Office Theme</vt:lpstr>
      <vt:lpstr>EACS 2023_CORP_Conference Support</vt:lpstr>
      <vt:lpstr>think-cell Slide</vt:lpstr>
      <vt:lpstr>Dovato, nuevos datos post IAS/EACS. Alella,14  de noviembre de 2023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OSANNA URRARO</dc:creator>
  <cp:lastModifiedBy>Boris Revollo</cp:lastModifiedBy>
  <cp:revision>233</cp:revision>
  <dcterms:created xsi:type="dcterms:W3CDTF">2019-11-06T22:05:45Z</dcterms:created>
  <dcterms:modified xsi:type="dcterms:W3CDTF">2023-11-14T11:51:54Z</dcterms:modified>
</cp:coreProperties>
</file>